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diagrams/colors11.xml" ContentType="application/vnd.openxmlformats-officedocument.drawingml.diagramColor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notesSlides/notesSlide12.xml" ContentType="application/vnd.openxmlformats-officedocument.presentationml.notesSlide+xml"/>
  <Override PartName="/ppt/diagrams/drawing14.xml" ContentType="application/vnd.ms-office.drawingml.diagramDrawing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layout13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notesSlides/notesSlide13.xml" ContentType="application/vnd.openxmlformats-officedocument.presentationml.notesSlid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diagrams/data11.xml" ContentType="application/vnd.openxmlformats-officedocument.drawingml.diagramData+xml"/>
  <Default Extension="rels" ContentType="application/vnd.openxmlformats-package.relationships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layout15.xml" ContentType="application/vnd.openxmlformats-officedocument.drawingml.diagramLayou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notesSlides/notesSlide10.xml" ContentType="application/vnd.openxmlformats-officedocument.presentationml.notesSlid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notesSlides/notesSlide11.xml" ContentType="application/vnd.openxmlformats-officedocument.presentationml.notesSlid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diagrams/drawing2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8"/>
  </p:notesMasterIdLst>
  <p:handoutMasterIdLst>
    <p:handoutMasterId r:id="rId19"/>
  </p:handoutMasterIdLst>
  <p:sldIdLst>
    <p:sldId id="273" r:id="rId2"/>
    <p:sldId id="327" r:id="rId3"/>
    <p:sldId id="335" r:id="rId4"/>
    <p:sldId id="341" r:id="rId5"/>
    <p:sldId id="314" r:id="rId6"/>
    <p:sldId id="313" r:id="rId7"/>
    <p:sldId id="309" r:id="rId8"/>
    <p:sldId id="329" r:id="rId9"/>
    <p:sldId id="340" r:id="rId10"/>
    <p:sldId id="336" r:id="rId11"/>
    <p:sldId id="339" r:id="rId12"/>
    <p:sldId id="286" r:id="rId13"/>
    <p:sldId id="299" r:id="rId14"/>
    <p:sldId id="292" r:id="rId15"/>
    <p:sldId id="284" r:id="rId16"/>
    <p:sldId id="334" r:id="rId17"/>
  </p:sldIdLst>
  <p:sldSz cx="9144000" cy="5143500" type="screen16x9"/>
  <p:notesSz cx="7099300" cy="10234613"/>
  <p:custDataLst>
    <p:tags r:id="rId20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CAFDC"/>
    <a:srgbClr val="E20074"/>
    <a:srgbClr val="4FAC36"/>
    <a:srgbClr val="FF118E"/>
    <a:srgbClr val="666666"/>
    <a:srgbClr val="368F9A"/>
    <a:srgbClr val="427BAB"/>
    <a:srgbClr val="64B9E4"/>
    <a:srgbClr val="9F4C97"/>
    <a:srgbClr val="EDA9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41" autoAdjust="0"/>
  </p:normalViewPr>
  <p:slideViewPr>
    <p:cSldViewPr snapToGrid="0" showGuides="1">
      <p:cViewPr>
        <p:scale>
          <a:sx n="150" d="100"/>
          <a:sy n="150" d="100"/>
        </p:scale>
        <p:origin x="-426" y="-348"/>
      </p:cViewPr>
      <p:guideLst>
        <p:guide orient="horz" pos="158"/>
        <p:guide orient="horz" pos="533"/>
        <p:guide orient="horz" pos="838"/>
        <p:guide orient="horz" pos="622"/>
        <p:guide orient="horz" pos="2726"/>
        <p:guide orient="horz" pos="2861"/>
        <p:guide orient="horz" pos="3093"/>
        <p:guide orient="horz" pos="2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_rels/data15.xml.rels><?xml version="1.0" encoding="UTF-8" standalone="yes"?>
<Relationships xmlns="http://schemas.openxmlformats.org/package/2006/relationships"><Relationship Id="rId8" Type="http://schemas.openxmlformats.org/officeDocument/2006/relationships/hyperlink" Target="http://cloud-computing-blog.eu/was-ist-jetzt-eigentlich-cloud-computing/" TargetMode="External"/><Relationship Id="rId3" Type="http://schemas.openxmlformats.org/officeDocument/2006/relationships/hyperlink" Target="http://www.all-stars.de/blog/wp-content/uploads/2014/04/planung.jpg" TargetMode="External"/><Relationship Id="rId7" Type="http://schemas.openxmlformats.org/officeDocument/2006/relationships/hyperlink" Target="https://www.openstack.org/brand/openstack-logo/logo-download/" TargetMode="External"/><Relationship Id="rId2" Type="http://schemas.openxmlformats.org/officeDocument/2006/relationships/hyperlink" Target="http://www.ofekcloud.com/media/images/1e7b5ca3-8b2e-4e2e-9898-5df978f0218aimage14.jpeg" TargetMode="External"/><Relationship Id="rId1" Type="http://schemas.openxmlformats.org/officeDocument/2006/relationships/hyperlink" Target="https://dzone.com/refcardz?filter=popular" TargetMode="External"/><Relationship Id="rId6" Type="http://schemas.openxmlformats.org/officeDocument/2006/relationships/hyperlink" Target="http://www.embritas.lt/project/duomenu-apdorojimo-centras/?lang=de" TargetMode="External"/><Relationship Id="rId11" Type="http://schemas.openxmlformats.org/officeDocument/2006/relationships/hyperlink" Target="http://webneel.com/daily/creative-drawing-jennifer-tjorvi" TargetMode="External"/><Relationship Id="rId5" Type="http://schemas.openxmlformats.org/officeDocument/2006/relationships/hyperlink" Target="http://yourdost.com/blog/2016/02/how-to-become-more-creative.html" TargetMode="External"/><Relationship Id="rId10" Type="http://schemas.openxmlformats.org/officeDocument/2006/relationships/hyperlink" Target="https://de.pinterest.com/pin/556053885218068326/" TargetMode="External"/><Relationship Id="rId4" Type="http://schemas.openxmlformats.org/officeDocument/2006/relationships/hyperlink" Target="http://www.maclife.de/ratgeber/microsoft-office-ios-jetzt-icloud-unterstuetzung-10062588.html" TargetMode="External"/><Relationship Id="rId9" Type="http://schemas.openxmlformats.org/officeDocument/2006/relationships/hyperlink" Target="https://www.openstack.org/" TargetMode="External"/></Relationships>
</file>

<file path=ppt/diagrams/_rels/drawing15.xml.rels><?xml version="1.0" encoding="UTF-8" standalone="yes"?>
<Relationships xmlns="http://schemas.openxmlformats.org/package/2006/relationships"><Relationship Id="rId8" Type="http://schemas.openxmlformats.org/officeDocument/2006/relationships/hyperlink" Target="http://webneel.com/daily/creative-drawing-jennifer-tjorvi" TargetMode="External"/><Relationship Id="rId3" Type="http://schemas.openxmlformats.org/officeDocument/2006/relationships/hyperlink" Target="http://cloud-computing-blog.eu/was-ist-jetzt-eigentlich-cloud-computing/" TargetMode="External"/><Relationship Id="rId7" Type="http://schemas.openxmlformats.org/officeDocument/2006/relationships/hyperlink" Target="http://yourdost.com/blog/2016/02/how-to-become-more-creative.html" TargetMode="External"/><Relationship Id="rId2" Type="http://schemas.openxmlformats.org/officeDocument/2006/relationships/hyperlink" Target="https://dzone.com/refcardz?filter=popular" TargetMode="External"/><Relationship Id="rId1" Type="http://schemas.openxmlformats.org/officeDocument/2006/relationships/hyperlink" Target="https://www.openstack.org/" TargetMode="External"/><Relationship Id="rId6" Type="http://schemas.openxmlformats.org/officeDocument/2006/relationships/hyperlink" Target="http://www.maclife.de/ratgeber/microsoft-office-ios-jetzt-icloud-unterstuetzung-10062588.html" TargetMode="External"/><Relationship Id="rId11" Type="http://schemas.openxmlformats.org/officeDocument/2006/relationships/hyperlink" Target="https://de.pinterest.com/pin/556053885218068326/" TargetMode="External"/><Relationship Id="rId5" Type="http://schemas.openxmlformats.org/officeDocument/2006/relationships/hyperlink" Target="http://www.all-stars.de/blog/wp-content/uploads/2014/04/planung.jpg" TargetMode="External"/><Relationship Id="rId10" Type="http://schemas.openxmlformats.org/officeDocument/2006/relationships/hyperlink" Target="https://www.openstack.org/brand/openstack-logo/logo-download/" TargetMode="External"/><Relationship Id="rId4" Type="http://schemas.openxmlformats.org/officeDocument/2006/relationships/hyperlink" Target="http://www.ofekcloud.com/media/images/1e7b5ca3-8b2e-4e2e-9898-5df978f0218aimage14.jpeg" TargetMode="External"/><Relationship Id="rId9" Type="http://schemas.openxmlformats.org/officeDocument/2006/relationships/hyperlink" Target="http://www.embritas.lt/project/duomenu-apdorojimo-centras/?lang=de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BFC4F1C-CC54-4A86-BC94-F82CBFE05673}" type="presOf" srcId="{F351D095-D2C1-4F62-A18D-EFB4BA6E2AA9}" destId="{6BF66C9A-92D4-481D-A538-FD1A4E3DC0D5}" srcOrd="0" destOrd="0" presId="urn:microsoft.com/office/officeart/2005/8/layout/chevron1"/>
    <dgm:cxn modelId="{80F86344-6574-4E6E-83AC-33B8498EE3F8}" type="presOf" srcId="{9C869D94-BD20-4CF6-9CAA-58E706B950F6}" destId="{0AECE453-CE2A-473C-BD27-70D00DA5B95C}" srcOrd="0" destOrd="0" presId="urn:microsoft.com/office/officeart/2005/8/layout/chevron1"/>
    <dgm:cxn modelId="{5FF361CD-A90F-437F-971E-D2DB1B81B7A0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365D43D-E4A6-4028-A79F-4C4C70AB35B7}" type="presOf" srcId="{D14807FD-294C-4482-91EE-34C09B13669A}" destId="{BCE275B7-D1E9-4183-BABE-507E54E1C931}" srcOrd="0" destOrd="0" presId="urn:microsoft.com/office/officeart/2005/8/layout/chevron1"/>
    <dgm:cxn modelId="{DC1AFB8A-E109-4DDB-BA01-5ED09BA18D25}" type="presParOf" srcId="{0AECE453-CE2A-473C-BD27-70D00DA5B95C}" destId="{135DB1F4-89C2-4733-9521-42FD5CECF10C}" srcOrd="0" destOrd="0" presId="urn:microsoft.com/office/officeart/2005/8/layout/chevron1"/>
    <dgm:cxn modelId="{4C28D983-DB56-4FA3-B9DB-96570F614963}" type="presParOf" srcId="{0AECE453-CE2A-473C-BD27-70D00DA5B95C}" destId="{E1C76734-9ABE-473C-AD4C-C4BF49F91E97}" srcOrd="1" destOrd="0" presId="urn:microsoft.com/office/officeart/2005/8/layout/chevron1"/>
    <dgm:cxn modelId="{7C4FC335-E329-4ED0-9659-E4A26A81DB20}" type="presParOf" srcId="{0AECE453-CE2A-473C-BD27-70D00DA5B95C}" destId="{6BF66C9A-92D4-481D-A538-FD1A4E3DC0D5}" srcOrd="2" destOrd="0" presId="urn:microsoft.com/office/officeart/2005/8/layout/chevron1"/>
    <dgm:cxn modelId="{41878C93-1DAC-4029-8E9F-AC038A3383C5}" type="presParOf" srcId="{0AECE453-CE2A-473C-BD27-70D00DA5B95C}" destId="{691CB221-7DD5-49BE-AC21-301798066F30}" srcOrd="3" destOrd="0" presId="urn:microsoft.com/office/officeart/2005/8/layout/chevron1"/>
    <dgm:cxn modelId="{90CC17A8-3C5D-443B-99BC-BDF0EC3BE55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7ED5C16-0781-4F90-9803-7779A8077E04}" type="presOf" srcId="{9C869D94-BD20-4CF6-9CAA-58E706B950F6}" destId="{0AECE453-CE2A-473C-BD27-70D00DA5B95C}" srcOrd="0" destOrd="0" presId="urn:microsoft.com/office/officeart/2005/8/layout/chevron1"/>
    <dgm:cxn modelId="{72625C1D-619F-45A4-BBDC-8E85DD6C091C}" type="presOf" srcId="{D14807FD-294C-4482-91EE-34C09B13669A}" destId="{BCE275B7-D1E9-4183-BABE-507E54E1C931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619D8B4-1713-4594-8A2A-5F50836EA6F9}" type="presOf" srcId="{EB61DA86-9B86-4759-822E-DA32F7AA073E}" destId="{135DB1F4-89C2-4733-9521-42FD5CECF10C}" srcOrd="0" destOrd="0" presId="urn:microsoft.com/office/officeart/2005/8/layout/chevron1"/>
    <dgm:cxn modelId="{5E7A61E8-AA57-4F92-A369-CA17F912A0B8}" type="presOf" srcId="{F351D095-D2C1-4F62-A18D-EFB4BA6E2AA9}" destId="{6BF66C9A-92D4-481D-A538-FD1A4E3DC0D5}" srcOrd="0" destOrd="0" presId="urn:microsoft.com/office/officeart/2005/8/layout/chevron1"/>
    <dgm:cxn modelId="{747485F1-B26A-4099-BCA0-1D8AC9593202}" type="presParOf" srcId="{0AECE453-CE2A-473C-BD27-70D00DA5B95C}" destId="{135DB1F4-89C2-4733-9521-42FD5CECF10C}" srcOrd="0" destOrd="0" presId="urn:microsoft.com/office/officeart/2005/8/layout/chevron1"/>
    <dgm:cxn modelId="{82B29D01-F2FC-46A4-80FA-7A30BEF9FF5C}" type="presParOf" srcId="{0AECE453-CE2A-473C-BD27-70D00DA5B95C}" destId="{E1C76734-9ABE-473C-AD4C-C4BF49F91E97}" srcOrd="1" destOrd="0" presId="urn:microsoft.com/office/officeart/2005/8/layout/chevron1"/>
    <dgm:cxn modelId="{01C1C2ED-72B0-4CD3-9A1B-B541749BF6E5}" type="presParOf" srcId="{0AECE453-CE2A-473C-BD27-70D00DA5B95C}" destId="{6BF66C9A-92D4-481D-A538-FD1A4E3DC0D5}" srcOrd="2" destOrd="0" presId="urn:microsoft.com/office/officeart/2005/8/layout/chevron1"/>
    <dgm:cxn modelId="{22EE3BCD-9286-4E1C-A9D1-6C5E631DAE17}" type="presParOf" srcId="{0AECE453-CE2A-473C-BD27-70D00DA5B95C}" destId="{691CB221-7DD5-49BE-AC21-301798066F30}" srcOrd="3" destOrd="0" presId="urn:microsoft.com/office/officeart/2005/8/layout/chevron1"/>
    <dgm:cxn modelId="{B194FC28-FEE0-4D5F-83F8-45CF30BE6D15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E66C17D-C91E-4E04-9F08-65F46EEB51CE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11CBFC80-F521-4109-9A5B-B16E919E709A}" type="presOf" srcId="{EB61DA86-9B86-4759-822E-DA32F7AA073E}" destId="{135DB1F4-89C2-4733-9521-42FD5CECF10C}" srcOrd="0" destOrd="0" presId="urn:microsoft.com/office/officeart/2005/8/layout/chevron1"/>
    <dgm:cxn modelId="{5152698B-3F19-4B55-838A-6C095785ECCF}" type="presOf" srcId="{D14807FD-294C-4482-91EE-34C09B13669A}" destId="{BCE275B7-D1E9-4183-BABE-507E54E1C931}" srcOrd="0" destOrd="0" presId="urn:microsoft.com/office/officeart/2005/8/layout/chevron1"/>
    <dgm:cxn modelId="{DD237552-DE9E-48A0-A134-8769C164D4E9}" type="presOf" srcId="{F351D095-D2C1-4F62-A18D-EFB4BA6E2AA9}" destId="{6BF66C9A-92D4-481D-A538-FD1A4E3DC0D5}" srcOrd="0" destOrd="0" presId="urn:microsoft.com/office/officeart/2005/8/layout/chevron1"/>
    <dgm:cxn modelId="{04BF63E3-0F97-46E3-B676-C057BBEA0F2B}" type="presParOf" srcId="{0AECE453-CE2A-473C-BD27-70D00DA5B95C}" destId="{135DB1F4-89C2-4733-9521-42FD5CECF10C}" srcOrd="0" destOrd="0" presId="urn:microsoft.com/office/officeart/2005/8/layout/chevron1"/>
    <dgm:cxn modelId="{34ED9564-48E0-45D6-B49D-FAB7C94FC188}" type="presParOf" srcId="{0AECE453-CE2A-473C-BD27-70D00DA5B95C}" destId="{E1C76734-9ABE-473C-AD4C-C4BF49F91E97}" srcOrd="1" destOrd="0" presId="urn:microsoft.com/office/officeart/2005/8/layout/chevron1"/>
    <dgm:cxn modelId="{EE88D064-DA27-44D6-A74F-468869BE8B7D}" type="presParOf" srcId="{0AECE453-CE2A-473C-BD27-70D00DA5B95C}" destId="{6BF66C9A-92D4-481D-A538-FD1A4E3DC0D5}" srcOrd="2" destOrd="0" presId="urn:microsoft.com/office/officeart/2005/8/layout/chevron1"/>
    <dgm:cxn modelId="{F35758A0-9E17-4976-BF86-9CB12BB0D911}" type="presParOf" srcId="{0AECE453-CE2A-473C-BD27-70D00DA5B95C}" destId="{691CB221-7DD5-49BE-AC21-301798066F30}" srcOrd="3" destOrd="0" presId="urn:microsoft.com/office/officeart/2005/8/layout/chevron1"/>
    <dgm:cxn modelId="{9F2445DB-A8A1-4D22-B0CB-9B8A2CB8AB48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19DA64A-2C03-41E5-ADAA-C978F94A0AE1}" type="doc">
      <dgm:prSet loTypeId="urn:microsoft.com/office/officeart/2005/8/layout/h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D29E8D6-45C4-4766-9EE2-39073334B914}">
      <dgm:prSet phldrT="[Text]" custT="1"/>
      <dgm:spPr/>
      <dgm:t>
        <a:bodyPr/>
        <a:lstStyle/>
        <a:p>
          <a:r>
            <a:rPr lang="de-DE" sz="1400" b="1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600" b="1" dirty="0">
            <a:latin typeface="Arial" pitchFamily="34" charset="0"/>
            <a:cs typeface="Arial" pitchFamily="34" charset="0"/>
          </a:endParaRPr>
        </a:p>
      </dgm:t>
    </dgm:pt>
    <dgm:pt modelId="{A17B8255-C898-4D61-90BB-4369F547F9EE}" type="parTrans" cxnId="{16A77C45-8F0B-4E37-830C-AFB95DFA566B}">
      <dgm:prSet/>
      <dgm:spPr/>
      <dgm:t>
        <a:bodyPr/>
        <a:lstStyle/>
        <a:p>
          <a:endParaRPr lang="de-DE"/>
        </a:p>
      </dgm:t>
    </dgm:pt>
    <dgm:pt modelId="{02FC5717-8F33-435C-A443-4125A6E60485}" type="sibTrans" cxnId="{16A77C45-8F0B-4E37-830C-AFB95DFA566B}">
      <dgm:prSet/>
      <dgm:spPr/>
      <dgm:t>
        <a:bodyPr/>
        <a:lstStyle/>
        <a:p>
          <a:endParaRPr lang="de-DE" dirty="0"/>
        </a:p>
      </dgm:t>
    </dgm:pt>
    <dgm:pt modelId="{D9B18B51-5DB5-45F7-8D85-19BFDAE7EE7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C2D7CCD1-061C-4F05-BFC4-43ADD398DDB7}" type="parTrans" cxnId="{4C03B5AE-9A2B-4FE4-8341-B655E16B70F1}">
      <dgm:prSet/>
      <dgm:spPr/>
      <dgm:t>
        <a:bodyPr/>
        <a:lstStyle/>
        <a:p>
          <a:endParaRPr lang="de-DE"/>
        </a:p>
      </dgm:t>
    </dgm:pt>
    <dgm:pt modelId="{CD141744-A1A3-4A5D-B661-8D7E73DEE3C1}" type="sibTrans" cxnId="{4C03B5AE-9A2B-4FE4-8341-B655E16B70F1}">
      <dgm:prSet/>
      <dgm:spPr/>
      <dgm:t>
        <a:bodyPr/>
        <a:lstStyle/>
        <a:p>
          <a:endParaRPr lang="de-DE"/>
        </a:p>
      </dgm:t>
    </dgm:pt>
    <dgm:pt modelId="{80CFA889-5351-4E28-8BE6-43BFAEE53451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B470D06-755A-4FDC-AECA-3A9994C7AFD9}" type="parTrans" cxnId="{79375B53-1021-4279-982A-35AFEBF2982D}">
      <dgm:prSet/>
      <dgm:spPr/>
      <dgm:t>
        <a:bodyPr/>
        <a:lstStyle/>
        <a:p>
          <a:endParaRPr lang="de-DE"/>
        </a:p>
      </dgm:t>
    </dgm:pt>
    <dgm:pt modelId="{3BA148EF-6FCE-4690-8755-958962BB541A}" type="sibTrans" cxnId="{79375B53-1021-4279-982A-35AFEBF2982D}">
      <dgm:prSet/>
      <dgm:spPr/>
      <dgm:t>
        <a:bodyPr/>
        <a:lstStyle/>
        <a:p>
          <a:endParaRPr lang="de-DE"/>
        </a:p>
      </dgm:t>
    </dgm:pt>
    <dgm:pt modelId="{9787083E-A30F-4E27-92D4-E96F8A4B707E}">
      <dgm:prSet phldrT="[Text]" custT="1"/>
      <dgm:spPr/>
      <dgm:t>
        <a:bodyPr/>
        <a:lstStyle/>
        <a:p>
          <a:r>
            <a:rPr lang="de-DE" sz="1400" b="1" dirty="0" smtClean="0">
              <a:latin typeface="Arial" pitchFamily="34" charset="0"/>
              <a:cs typeface="Arial" pitchFamily="34" charset="0"/>
            </a:rPr>
            <a:t>OpenStack</a:t>
          </a:r>
          <a:endParaRPr lang="de-DE" sz="1600" b="1" dirty="0">
            <a:latin typeface="Arial" pitchFamily="34" charset="0"/>
            <a:cs typeface="Arial" pitchFamily="34" charset="0"/>
          </a:endParaRPr>
        </a:p>
      </dgm:t>
    </dgm:pt>
    <dgm:pt modelId="{071F18BC-ED4E-47F4-9B5A-813FFF2999AE}" type="parTrans" cxnId="{3CD8964E-2B3D-4FA2-99FC-D36F0BCA2EFF}">
      <dgm:prSet/>
      <dgm:spPr/>
      <dgm:t>
        <a:bodyPr/>
        <a:lstStyle/>
        <a:p>
          <a:endParaRPr lang="de-DE"/>
        </a:p>
      </dgm:t>
    </dgm:pt>
    <dgm:pt modelId="{E3642DD6-1F6B-43AA-9D67-2CF84888C750}" type="sibTrans" cxnId="{3CD8964E-2B3D-4FA2-99FC-D36F0BCA2EFF}">
      <dgm:prSet/>
      <dgm:spPr/>
      <dgm:t>
        <a:bodyPr/>
        <a:lstStyle/>
        <a:p>
          <a:endParaRPr lang="de-DE" dirty="0"/>
        </a:p>
      </dgm:t>
    </dgm:pt>
    <dgm:pt modelId="{60742F7F-B628-4896-B2D0-A5635FF38DF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AC6F52CB-33BD-46BB-B45A-EAFB48C857E6}" type="parTrans" cxnId="{0FC9EA78-C4DA-4E62-A987-D52BE3F1C341}">
      <dgm:prSet/>
      <dgm:spPr/>
      <dgm:t>
        <a:bodyPr/>
        <a:lstStyle/>
        <a:p>
          <a:endParaRPr lang="de-DE"/>
        </a:p>
      </dgm:t>
    </dgm:pt>
    <dgm:pt modelId="{F567A1C8-8C6B-4352-8AAD-A76402D34BBB}" type="sibTrans" cxnId="{0FC9EA78-C4DA-4E62-A987-D52BE3F1C341}">
      <dgm:prSet/>
      <dgm:spPr/>
      <dgm:t>
        <a:bodyPr/>
        <a:lstStyle/>
        <a:p>
          <a:endParaRPr lang="de-DE"/>
        </a:p>
      </dgm:t>
    </dgm:pt>
    <dgm:pt modelId="{B8CBAB91-7886-47B2-AD4A-8B98871644A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15F4158-40E6-4707-8FB7-C5B5541C5015}" type="parTrans" cxnId="{89CFE607-364A-4F62-B245-E2C8A556CA6E}">
      <dgm:prSet/>
      <dgm:spPr/>
      <dgm:t>
        <a:bodyPr/>
        <a:lstStyle/>
        <a:p>
          <a:endParaRPr lang="de-DE"/>
        </a:p>
      </dgm:t>
    </dgm:pt>
    <dgm:pt modelId="{B4ABF896-9851-4F69-9A37-D9EFE9604299}" type="sibTrans" cxnId="{89CFE607-364A-4F62-B245-E2C8A556CA6E}">
      <dgm:prSet/>
      <dgm:spPr/>
      <dgm:t>
        <a:bodyPr/>
        <a:lstStyle/>
        <a:p>
          <a:endParaRPr lang="de-DE"/>
        </a:p>
      </dgm:t>
    </dgm:pt>
    <dgm:pt modelId="{19F480E7-F1A0-4DE0-8978-074DED21D435}">
      <dgm:prSet phldrT="[Text]" custT="1"/>
      <dgm:spPr/>
      <dgm:t>
        <a:bodyPr/>
        <a:lstStyle/>
        <a:p>
          <a:r>
            <a:rPr lang="de-DE" sz="1200" b="1" dirty="0" smtClean="0">
              <a:latin typeface="Arial" pitchFamily="34" charset="0"/>
              <a:cs typeface="Arial" pitchFamily="34" charset="0"/>
            </a:rPr>
            <a:t>TelekomCLOUD</a:t>
          </a:r>
          <a:endParaRPr lang="de-DE" sz="1200" b="1" dirty="0">
            <a:latin typeface="Arial" pitchFamily="34" charset="0"/>
            <a:cs typeface="Arial" pitchFamily="34" charset="0"/>
          </a:endParaRPr>
        </a:p>
      </dgm:t>
    </dgm:pt>
    <dgm:pt modelId="{D5701790-9397-4634-9155-24EF73E13E6C}" type="parTrans" cxnId="{F0EF9E97-ABBE-4191-BBDC-BF3796866ABE}">
      <dgm:prSet/>
      <dgm:spPr/>
      <dgm:t>
        <a:bodyPr/>
        <a:lstStyle/>
        <a:p>
          <a:endParaRPr lang="de-DE"/>
        </a:p>
      </dgm:t>
    </dgm:pt>
    <dgm:pt modelId="{2CF72959-CC85-4375-9DEF-CCC9934239AC}" type="sibTrans" cxnId="{F0EF9E97-ABBE-4191-BBDC-BF3796866ABE}">
      <dgm:prSet/>
      <dgm:spPr/>
      <dgm:t>
        <a:bodyPr/>
        <a:lstStyle/>
        <a:p>
          <a:endParaRPr lang="de-DE"/>
        </a:p>
      </dgm:t>
    </dgm:pt>
    <dgm:pt modelId="{3E636A7F-0F49-4561-9ECD-DBBDC8F2B2C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3BB35E21-76D2-413F-954B-DF2575851051}" type="parTrans" cxnId="{A2FC34C5-2A36-4E8F-A2DC-7F7DA5C1854B}">
      <dgm:prSet/>
      <dgm:spPr/>
      <dgm:t>
        <a:bodyPr/>
        <a:lstStyle/>
        <a:p>
          <a:endParaRPr lang="de-DE"/>
        </a:p>
      </dgm:t>
    </dgm:pt>
    <dgm:pt modelId="{09E76BA2-3781-44ED-8ABD-4CB42F55A664}" type="sibTrans" cxnId="{A2FC34C5-2A36-4E8F-A2DC-7F7DA5C1854B}">
      <dgm:prSet/>
      <dgm:spPr/>
      <dgm:t>
        <a:bodyPr/>
        <a:lstStyle/>
        <a:p>
          <a:endParaRPr lang="de-DE"/>
        </a:p>
      </dgm:t>
    </dgm:pt>
    <dgm:pt modelId="{E6116EAE-791A-4FBB-9940-10479BAC3D3E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DB0B1903-6A42-499D-9662-BBEC995E1659}" type="parTrans" cxnId="{A5C71D9B-1C58-4FA8-9585-6B85B3300973}">
      <dgm:prSet/>
      <dgm:spPr/>
      <dgm:t>
        <a:bodyPr/>
        <a:lstStyle/>
        <a:p>
          <a:endParaRPr lang="de-DE"/>
        </a:p>
      </dgm:t>
    </dgm:pt>
    <dgm:pt modelId="{B276290D-A249-46AA-86CF-371B89BC6C3D}" type="sibTrans" cxnId="{A5C71D9B-1C58-4FA8-9585-6B85B3300973}">
      <dgm:prSet/>
      <dgm:spPr/>
      <dgm:t>
        <a:bodyPr/>
        <a:lstStyle/>
        <a:p>
          <a:endParaRPr lang="de-DE"/>
        </a:p>
      </dgm:t>
    </dgm:pt>
    <dgm:pt modelId="{9292FFF5-4783-4EB6-B7AC-0DEA0D632D0D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0F08E28-7195-4304-B5AA-2D3FD2353FF1}" type="parTrans" cxnId="{44A32511-F286-4B2A-AEF9-F12B4C3BEBF4}">
      <dgm:prSet/>
      <dgm:spPr/>
      <dgm:t>
        <a:bodyPr/>
        <a:lstStyle/>
        <a:p>
          <a:endParaRPr lang="de-DE"/>
        </a:p>
      </dgm:t>
    </dgm:pt>
    <dgm:pt modelId="{81C2313B-5C34-4B93-B9BC-3138408055B5}" type="sibTrans" cxnId="{44A32511-F286-4B2A-AEF9-F12B4C3BEBF4}">
      <dgm:prSet/>
      <dgm:spPr/>
      <dgm:t>
        <a:bodyPr/>
        <a:lstStyle/>
        <a:p>
          <a:endParaRPr lang="de-DE"/>
        </a:p>
      </dgm:t>
    </dgm:pt>
    <dgm:pt modelId="{27B51D99-7A94-4E76-A341-80356EB4A05F}">
      <dgm:prSet phldrT="[Text]"/>
      <dgm:spPr/>
      <dgm:t>
        <a:bodyPr/>
        <a:lstStyle/>
        <a:p>
          <a:endParaRPr lang="de-DE" sz="1100" dirty="0"/>
        </a:p>
      </dgm:t>
    </dgm:pt>
    <dgm:pt modelId="{26C5FC4F-411C-4729-A073-FD295AB06A7A}" type="parTrans" cxnId="{C8E07205-84D7-4B7B-B87D-E30864606F99}">
      <dgm:prSet/>
      <dgm:spPr/>
      <dgm:t>
        <a:bodyPr/>
        <a:lstStyle/>
        <a:p>
          <a:endParaRPr lang="de-DE"/>
        </a:p>
      </dgm:t>
    </dgm:pt>
    <dgm:pt modelId="{47EDA791-7B38-4D93-9F52-9E1B2691EC1C}" type="sibTrans" cxnId="{C8E07205-84D7-4B7B-B87D-E30864606F99}">
      <dgm:prSet/>
      <dgm:spPr/>
      <dgm:t>
        <a:bodyPr/>
        <a:lstStyle/>
        <a:p>
          <a:endParaRPr lang="de-DE"/>
        </a:p>
      </dgm:t>
    </dgm:pt>
    <dgm:pt modelId="{4DC1ED2C-7CC6-4321-A9E2-D232A85DA891}">
      <dgm:prSet phldrT="[Text]" custT="1"/>
      <dgm:spPr/>
      <dgm:t>
        <a:bodyPr/>
        <a:lstStyle/>
        <a:p>
          <a:r>
            <a:rPr lang="de-DE" sz="105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dirty="0">
            <a:latin typeface="Arial" pitchFamily="34" charset="0"/>
            <a:cs typeface="Arial" pitchFamily="34" charset="0"/>
          </a:endParaRPr>
        </a:p>
      </dgm:t>
    </dgm:pt>
    <dgm:pt modelId="{B8680361-B7EF-4FC5-9E11-5AA73D69F7A4}" type="parTrans" cxnId="{D3818F5D-5E4C-4D74-9151-3736FB0586E2}">
      <dgm:prSet/>
      <dgm:spPr/>
      <dgm:t>
        <a:bodyPr/>
        <a:lstStyle/>
        <a:p>
          <a:endParaRPr lang="de-DE"/>
        </a:p>
      </dgm:t>
    </dgm:pt>
    <dgm:pt modelId="{D425DC95-A17C-4AD9-9F71-4BC57F587582}" type="sibTrans" cxnId="{D3818F5D-5E4C-4D74-9151-3736FB0586E2}">
      <dgm:prSet/>
      <dgm:spPr/>
      <dgm:t>
        <a:bodyPr/>
        <a:lstStyle/>
        <a:p>
          <a:endParaRPr lang="de-DE"/>
        </a:p>
      </dgm:t>
    </dgm:pt>
    <dgm:pt modelId="{6A8D4F1F-5512-45A1-AD1D-4E159C394BA1}" type="pres">
      <dgm:prSet presAssocID="{F19DA64A-2C03-41E5-ADAA-C978F94A0AE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CD9565E-1852-4360-A641-BE1DC38AC425}" type="pres">
      <dgm:prSet presAssocID="{F19DA64A-2C03-41E5-ADAA-C978F94A0AE1}" presName="tSp" presStyleCnt="0"/>
      <dgm:spPr/>
    </dgm:pt>
    <dgm:pt modelId="{753F4ABC-934F-494A-B25B-D9B14B57463C}" type="pres">
      <dgm:prSet presAssocID="{F19DA64A-2C03-41E5-ADAA-C978F94A0AE1}" presName="bSp" presStyleCnt="0"/>
      <dgm:spPr/>
    </dgm:pt>
    <dgm:pt modelId="{1FA998D9-8B6E-488B-ACC6-F55F325F0DC2}" type="pres">
      <dgm:prSet presAssocID="{F19DA64A-2C03-41E5-ADAA-C978F94A0AE1}" presName="process" presStyleCnt="0"/>
      <dgm:spPr/>
    </dgm:pt>
    <dgm:pt modelId="{8914166E-3DD8-47F8-AA1D-B53368C7A82D}" type="pres">
      <dgm:prSet presAssocID="{1D29E8D6-45C4-4766-9EE2-39073334B914}" presName="composite1" presStyleCnt="0"/>
      <dgm:spPr/>
    </dgm:pt>
    <dgm:pt modelId="{736A157F-6561-4D5B-8408-E189E88281F2}" type="pres">
      <dgm:prSet presAssocID="{1D29E8D6-45C4-4766-9EE2-39073334B914}" presName="dummyNode1" presStyleLbl="node1" presStyleIdx="0" presStyleCnt="3"/>
      <dgm:spPr/>
    </dgm:pt>
    <dgm:pt modelId="{FC4C6030-747E-48FD-A592-CF6DDA7519A4}" type="pres">
      <dgm:prSet presAssocID="{1D29E8D6-45C4-4766-9EE2-39073334B914}" presName="childNode1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B49DD0-19A1-41EF-B0F5-8C14CBAC079E}" type="pres">
      <dgm:prSet presAssocID="{1D29E8D6-45C4-4766-9EE2-39073334B914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D272A9-E92B-4719-96E4-A334C871DDEB}" type="pres">
      <dgm:prSet presAssocID="{1D29E8D6-45C4-4766-9EE2-39073334B914}" presName="parentNode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715AD-8C45-45B6-98E6-935CC74C611D}" type="pres">
      <dgm:prSet presAssocID="{1D29E8D6-45C4-4766-9EE2-39073334B914}" presName="connSite1" presStyleCnt="0"/>
      <dgm:spPr/>
    </dgm:pt>
    <dgm:pt modelId="{5439EF25-BEDD-4B5A-B567-E1403F8FEB8E}" type="pres">
      <dgm:prSet presAssocID="{02FC5717-8F33-435C-A443-4125A6E60485}" presName="Name9" presStyleLbl="sibTrans2D1" presStyleIdx="0" presStyleCnt="2"/>
      <dgm:spPr/>
      <dgm:t>
        <a:bodyPr/>
        <a:lstStyle/>
        <a:p>
          <a:endParaRPr lang="de-DE"/>
        </a:p>
      </dgm:t>
    </dgm:pt>
    <dgm:pt modelId="{D2B376CC-0DB2-4366-A247-DA9A20DC3EEE}" type="pres">
      <dgm:prSet presAssocID="{9787083E-A30F-4E27-92D4-E96F8A4B707E}" presName="composite2" presStyleCnt="0"/>
      <dgm:spPr/>
    </dgm:pt>
    <dgm:pt modelId="{3A589F14-FD66-4AB0-9E4A-3100F9FD4128}" type="pres">
      <dgm:prSet presAssocID="{9787083E-A30F-4E27-92D4-E96F8A4B707E}" presName="dummyNode2" presStyleLbl="node1" presStyleIdx="0" presStyleCnt="3"/>
      <dgm:spPr/>
    </dgm:pt>
    <dgm:pt modelId="{7B116376-1966-411C-8846-0B561668FA8A}" type="pres">
      <dgm:prSet presAssocID="{9787083E-A30F-4E27-92D4-E96F8A4B707E}" presName="childNode2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BE99C35-5B44-4C8B-B0F9-D14622292693}" type="pres">
      <dgm:prSet presAssocID="{9787083E-A30F-4E27-92D4-E96F8A4B707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97D153-61A1-4F22-9B68-9BB314807883}" type="pres">
      <dgm:prSet presAssocID="{9787083E-A30F-4E27-92D4-E96F8A4B707E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CCE621-BDDB-4947-890B-BA7E088A1A65}" type="pres">
      <dgm:prSet presAssocID="{9787083E-A30F-4E27-92D4-E96F8A4B707E}" presName="connSite2" presStyleCnt="0"/>
      <dgm:spPr/>
    </dgm:pt>
    <dgm:pt modelId="{6861BCAD-DE42-4BC1-ACF4-14F23BA682BF}" type="pres">
      <dgm:prSet presAssocID="{E3642DD6-1F6B-43AA-9D67-2CF84888C750}" presName="Name18" presStyleLbl="sibTrans2D1" presStyleIdx="1" presStyleCnt="2"/>
      <dgm:spPr/>
      <dgm:t>
        <a:bodyPr/>
        <a:lstStyle/>
        <a:p>
          <a:endParaRPr lang="de-DE"/>
        </a:p>
      </dgm:t>
    </dgm:pt>
    <dgm:pt modelId="{0A91573E-A7A7-4CBB-8BCA-A62335804491}" type="pres">
      <dgm:prSet presAssocID="{19F480E7-F1A0-4DE0-8978-074DED21D435}" presName="composite1" presStyleCnt="0"/>
      <dgm:spPr/>
    </dgm:pt>
    <dgm:pt modelId="{35BF2434-D120-4F1E-91B4-19C267CD210F}" type="pres">
      <dgm:prSet presAssocID="{19F480E7-F1A0-4DE0-8978-074DED21D435}" presName="dummyNode1" presStyleLbl="node1" presStyleIdx="1" presStyleCnt="3"/>
      <dgm:spPr/>
    </dgm:pt>
    <dgm:pt modelId="{21AC5FF7-1AAA-4C2C-962E-B3C6EE613243}" type="pres">
      <dgm:prSet presAssocID="{19F480E7-F1A0-4DE0-8978-074DED21D435}" presName="childNode1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DC0960C-FE4F-461C-84F2-224DD3FDDD85}" type="pres">
      <dgm:prSet presAssocID="{19F480E7-F1A0-4DE0-8978-074DED21D435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99699DA-C282-434C-8D58-B6E86BFB4860}" type="pres">
      <dgm:prSet presAssocID="{19F480E7-F1A0-4DE0-8978-074DED21D435}" presName="parentNode1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083C54-280B-4834-8912-FE326C8D0BE4}" type="pres">
      <dgm:prSet presAssocID="{19F480E7-F1A0-4DE0-8978-074DED21D435}" presName="connSite1" presStyleCnt="0"/>
      <dgm:spPr/>
    </dgm:pt>
  </dgm:ptLst>
  <dgm:cxnLst>
    <dgm:cxn modelId="{C8E07205-84D7-4B7B-B87D-E30864606F99}" srcId="{19F480E7-F1A0-4DE0-8978-074DED21D435}" destId="{27B51D99-7A94-4E76-A341-80356EB4A05F}" srcOrd="3" destOrd="0" parTransId="{26C5FC4F-411C-4729-A073-FD295AB06A7A}" sibTransId="{47EDA791-7B38-4D93-9F52-9E1B2691EC1C}"/>
    <dgm:cxn modelId="{8C1714FC-9DD9-4B4B-8407-8BA48E5B58E4}" type="presOf" srcId="{D9B18B51-5DB5-45F7-8D85-19BFDAE7EE70}" destId="{FC4C6030-747E-48FD-A592-CF6DDA7519A4}" srcOrd="0" destOrd="0" presId="urn:microsoft.com/office/officeart/2005/8/layout/hProcess4"/>
    <dgm:cxn modelId="{5F346784-637C-40C2-9791-71CB20ED6F40}" type="presOf" srcId="{4DC1ED2C-7CC6-4321-A9E2-D232A85DA891}" destId="{21AC5FF7-1AAA-4C2C-962E-B3C6EE613243}" srcOrd="0" destOrd="2" presId="urn:microsoft.com/office/officeart/2005/8/layout/hProcess4"/>
    <dgm:cxn modelId="{A93C9E1B-60AD-48E0-B8A5-991DAFB6263E}" type="presOf" srcId="{4DC1ED2C-7CC6-4321-A9E2-D232A85DA891}" destId="{2DC0960C-FE4F-461C-84F2-224DD3FDDD85}" srcOrd="1" destOrd="2" presId="urn:microsoft.com/office/officeart/2005/8/layout/hProcess4"/>
    <dgm:cxn modelId="{26C801FE-3310-48AA-BE0F-79EFC1CAD28C}" type="presOf" srcId="{9292FFF5-4783-4EB6-B7AC-0DEA0D632D0D}" destId="{FBE99C35-5B44-4C8B-B0F9-D14622292693}" srcOrd="1" destOrd="2" presId="urn:microsoft.com/office/officeart/2005/8/layout/hProcess4"/>
    <dgm:cxn modelId="{6C2F5088-C013-431A-9A2B-9F0D9BF04F00}" type="presOf" srcId="{27B51D99-7A94-4E76-A341-80356EB4A05F}" destId="{2DC0960C-FE4F-461C-84F2-224DD3FDDD85}" srcOrd="1" destOrd="3" presId="urn:microsoft.com/office/officeart/2005/8/layout/hProcess4"/>
    <dgm:cxn modelId="{D3B84C68-BCB4-4F63-9562-8C07372F47AD}" type="presOf" srcId="{E6116EAE-791A-4FBB-9940-10479BAC3D3E}" destId="{21AC5FF7-1AAA-4C2C-962E-B3C6EE613243}" srcOrd="0" destOrd="1" presId="urn:microsoft.com/office/officeart/2005/8/layout/hProcess4"/>
    <dgm:cxn modelId="{3CD8964E-2B3D-4FA2-99FC-D36F0BCA2EFF}" srcId="{F19DA64A-2C03-41E5-ADAA-C978F94A0AE1}" destId="{9787083E-A30F-4E27-92D4-E96F8A4B707E}" srcOrd="1" destOrd="0" parTransId="{071F18BC-ED4E-47F4-9B5A-813FFF2999AE}" sibTransId="{E3642DD6-1F6B-43AA-9D67-2CF84888C750}"/>
    <dgm:cxn modelId="{83B4B391-B669-4FE4-911C-49FF1BCB2362}" type="presOf" srcId="{E3642DD6-1F6B-43AA-9D67-2CF84888C750}" destId="{6861BCAD-DE42-4BC1-ACF4-14F23BA682BF}" srcOrd="0" destOrd="0" presId="urn:microsoft.com/office/officeart/2005/8/layout/hProcess4"/>
    <dgm:cxn modelId="{17B36868-A8C9-42DA-A0A6-F8C7366087D9}" type="presOf" srcId="{F19DA64A-2C03-41E5-ADAA-C978F94A0AE1}" destId="{6A8D4F1F-5512-45A1-AD1D-4E159C394BA1}" srcOrd="0" destOrd="0" presId="urn:microsoft.com/office/officeart/2005/8/layout/hProcess4"/>
    <dgm:cxn modelId="{44A32511-F286-4B2A-AEF9-F12B4C3BEBF4}" srcId="{9787083E-A30F-4E27-92D4-E96F8A4B707E}" destId="{9292FFF5-4783-4EB6-B7AC-0DEA0D632D0D}" srcOrd="2" destOrd="0" parTransId="{E0F08E28-7195-4304-B5AA-2D3FD2353FF1}" sibTransId="{81C2313B-5C34-4B93-B9BC-3138408055B5}"/>
    <dgm:cxn modelId="{ACAFA110-2D3F-4DC6-86A5-D748DD918B8A}" type="presOf" srcId="{80CFA889-5351-4E28-8BE6-43BFAEE53451}" destId="{A0B49DD0-19A1-41EF-B0F5-8C14CBAC079E}" srcOrd="1" destOrd="1" presId="urn:microsoft.com/office/officeart/2005/8/layout/hProcess4"/>
    <dgm:cxn modelId="{885C9853-9376-4A7B-82D5-93A725E0D1B2}" type="presOf" srcId="{D9B18B51-5DB5-45F7-8D85-19BFDAE7EE70}" destId="{A0B49DD0-19A1-41EF-B0F5-8C14CBAC079E}" srcOrd="1" destOrd="0" presId="urn:microsoft.com/office/officeart/2005/8/layout/hProcess4"/>
    <dgm:cxn modelId="{5920FC48-1418-4E9A-9E12-DA61FE62E761}" type="presOf" srcId="{60742F7F-B628-4896-B2D0-A5635FF38DF0}" destId="{7B116376-1966-411C-8846-0B561668FA8A}" srcOrd="0" destOrd="0" presId="urn:microsoft.com/office/officeart/2005/8/layout/hProcess4"/>
    <dgm:cxn modelId="{16A77C45-8F0B-4E37-830C-AFB95DFA566B}" srcId="{F19DA64A-2C03-41E5-ADAA-C978F94A0AE1}" destId="{1D29E8D6-45C4-4766-9EE2-39073334B914}" srcOrd="0" destOrd="0" parTransId="{A17B8255-C898-4D61-90BB-4369F547F9EE}" sibTransId="{02FC5717-8F33-435C-A443-4125A6E60485}"/>
    <dgm:cxn modelId="{BB624F50-1703-4F1B-A3A8-96D438ACBB54}" type="presOf" srcId="{9292FFF5-4783-4EB6-B7AC-0DEA0D632D0D}" destId="{7B116376-1966-411C-8846-0B561668FA8A}" srcOrd="0" destOrd="2" presId="urn:microsoft.com/office/officeart/2005/8/layout/hProcess4"/>
    <dgm:cxn modelId="{A5C71D9B-1C58-4FA8-9585-6B85B3300973}" srcId="{19F480E7-F1A0-4DE0-8978-074DED21D435}" destId="{E6116EAE-791A-4FBB-9940-10479BAC3D3E}" srcOrd="1" destOrd="0" parTransId="{DB0B1903-6A42-499D-9662-BBEC995E1659}" sibTransId="{B276290D-A249-46AA-86CF-371B89BC6C3D}"/>
    <dgm:cxn modelId="{639EF981-0CEB-403C-B805-60DA56854E6B}" type="presOf" srcId="{3E636A7F-0F49-4561-9ECD-DBBDC8F2B2C1}" destId="{2DC0960C-FE4F-461C-84F2-224DD3FDDD85}" srcOrd="1" destOrd="0" presId="urn:microsoft.com/office/officeart/2005/8/layout/hProcess4"/>
    <dgm:cxn modelId="{A2FC34C5-2A36-4E8F-A2DC-7F7DA5C1854B}" srcId="{19F480E7-F1A0-4DE0-8978-074DED21D435}" destId="{3E636A7F-0F49-4561-9ECD-DBBDC8F2B2C1}" srcOrd="0" destOrd="0" parTransId="{3BB35E21-76D2-413F-954B-DF2575851051}" sibTransId="{09E76BA2-3781-44ED-8ABD-4CB42F55A664}"/>
    <dgm:cxn modelId="{18E22C0D-E630-430F-B90B-2148C93F1B13}" type="presOf" srcId="{3E636A7F-0F49-4561-9ECD-DBBDC8F2B2C1}" destId="{21AC5FF7-1AAA-4C2C-962E-B3C6EE613243}" srcOrd="0" destOrd="0" presId="urn:microsoft.com/office/officeart/2005/8/layout/hProcess4"/>
    <dgm:cxn modelId="{00CC0448-D736-46E6-B6DF-DF3604FF9D8C}" type="presOf" srcId="{B8CBAB91-7886-47B2-AD4A-8B98871644A2}" destId="{FBE99C35-5B44-4C8B-B0F9-D14622292693}" srcOrd="1" destOrd="1" presId="urn:microsoft.com/office/officeart/2005/8/layout/hProcess4"/>
    <dgm:cxn modelId="{CE70C49E-FDB8-4E17-ADE8-01DC6FA9939C}" type="presOf" srcId="{E6116EAE-791A-4FBB-9940-10479BAC3D3E}" destId="{2DC0960C-FE4F-461C-84F2-224DD3FDDD85}" srcOrd="1" destOrd="1" presId="urn:microsoft.com/office/officeart/2005/8/layout/hProcess4"/>
    <dgm:cxn modelId="{F45AA26D-E1F1-4815-8C8F-23B83A2A7816}" type="presOf" srcId="{9787083E-A30F-4E27-92D4-E96F8A4B707E}" destId="{1A97D153-61A1-4F22-9B68-9BB314807883}" srcOrd="0" destOrd="0" presId="urn:microsoft.com/office/officeart/2005/8/layout/hProcess4"/>
    <dgm:cxn modelId="{4C03B5AE-9A2B-4FE4-8341-B655E16B70F1}" srcId="{1D29E8D6-45C4-4766-9EE2-39073334B914}" destId="{D9B18B51-5DB5-45F7-8D85-19BFDAE7EE70}" srcOrd="0" destOrd="0" parTransId="{C2D7CCD1-061C-4F05-BFC4-43ADD398DDB7}" sibTransId="{CD141744-A1A3-4A5D-B661-8D7E73DEE3C1}"/>
    <dgm:cxn modelId="{6975A33A-3CBB-424A-B05A-CD5B1C4CF180}" type="presOf" srcId="{19F480E7-F1A0-4DE0-8978-074DED21D435}" destId="{E99699DA-C282-434C-8D58-B6E86BFB4860}" srcOrd="0" destOrd="0" presId="urn:microsoft.com/office/officeart/2005/8/layout/hProcess4"/>
    <dgm:cxn modelId="{89CFE607-364A-4F62-B245-E2C8A556CA6E}" srcId="{9787083E-A30F-4E27-92D4-E96F8A4B707E}" destId="{B8CBAB91-7886-47B2-AD4A-8B98871644A2}" srcOrd="1" destOrd="0" parTransId="{415F4158-40E6-4707-8FB7-C5B5541C5015}" sibTransId="{B4ABF896-9851-4F69-9A37-D9EFE9604299}"/>
    <dgm:cxn modelId="{850B65EF-1588-4BA5-A9B8-83ED7E80037A}" type="presOf" srcId="{02FC5717-8F33-435C-A443-4125A6E60485}" destId="{5439EF25-BEDD-4B5A-B567-E1403F8FEB8E}" srcOrd="0" destOrd="0" presId="urn:microsoft.com/office/officeart/2005/8/layout/hProcess4"/>
    <dgm:cxn modelId="{1CB6FA95-8E8B-4FEC-835D-95F5D511EB5A}" type="presOf" srcId="{1D29E8D6-45C4-4766-9EE2-39073334B914}" destId="{5ED272A9-E92B-4719-96E4-A334C871DDEB}" srcOrd="0" destOrd="0" presId="urn:microsoft.com/office/officeart/2005/8/layout/hProcess4"/>
    <dgm:cxn modelId="{14330130-4390-4ED9-A9B4-DCBCEC16AF3A}" type="presOf" srcId="{80CFA889-5351-4E28-8BE6-43BFAEE53451}" destId="{FC4C6030-747E-48FD-A592-CF6DDA7519A4}" srcOrd="0" destOrd="1" presId="urn:microsoft.com/office/officeart/2005/8/layout/hProcess4"/>
    <dgm:cxn modelId="{D3818F5D-5E4C-4D74-9151-3736FB0586E2}" srcId="{19F480E7-F1A0-4DE0-8978-074DED21D435}" destId="{4DC1ED2C-7CC6-4321-A9E2-D232A85DA891}" srcOrd="2" destOrd="0" parTransId="{B8680361-B7EF-4FC5-9E11-5AA73D69F7A4}" sibTransId="{D425DC95-A17C-4AD9-9F71-4BC57F587582}"/>
    <dgm:cxn modelId="{15312687-BFD5-4A72-9238-BE05373B2DE3}" type="presOf" srcId="{B8CBAB91-7886-47B2-AD4A-8B98871644A2}" destId="{7B116376-1966-411C-8846-0B561668FA8A}" srcOrd="0" destOrd="1" presId="urn:microsoft.com/office/officeart/2005/8/layout/hProcess4"/>
    <dgm:cxn modelId="{F0EF9E97-ABBE-4191-BBDC-BF3796866ABE}" srcId="{F19DA64A-2C03-41E5-ADAA-C978F94A0AE1}" destId="{19F480E7-F1A0-4DE0-8978-074DED21D435}" srcOrd="2" destOrd="0" parTransId="{D5701790-9397-4634-9155-24EF73E13E6C}" sibTransId="{2CF72959-CC85-4375-9DEF-CCC9934239AC}"/>
    <dgm:cxn modelId="{BDA69D7E-875E-4802-BF85-3B26E33A6A64}" type="presOf" srcId="{27B51D99-7A94-4E76-A341-80356EB4A05F}" destId="{21AC5FF7-1AAA-4C2C-962E-B3C6EE613243}" srcOrd="0" destOrd="3" presId="urn:microsoft.com/office/officeart/2005/8/layout/hProcess4"/>
    <dgm:cxn modelId="{96D360E5-CE41-437F-A42B-6D743EA7FAD3}" type="presOf" srcId="{60742F7F-B628-4896-B2D0-A5635FF38DF0}" destId="{FBE99C35-5B44-4C8B-B0F9-D14622292693}" srcOrd="1" destOrd="0" presId="urn:microsoft.com/office/officeart/2005/8/layout/hProcess4"/>
    <dgm:cxn modelId="{79375B53-1021-4279-982A-35AFEBF2982D}" srcId="{1D29E8D6-45C4-4766-9EE2-39073334B914}" destId="{80CFA889-5351-4E28-8BE6-43BFAEE53451}" srcOrd="1" destOrd="0" parTransId="{3B470D06-755A-4FDC-AECA-3A9994C7AFD9}" sibTransId="{3BA148EF-6FCE-4690-8755-958962BB541A}"/>
    <dgm:cxn modelId="{0FC9EA78-C4DA-4E62-A987-D52BE3F1C341}" srcId="{9787083E-A30F-4E27-92D4-E96F8A4B707E}" destId="{60742F7F-B628-4896-B2D0-A5635FF38DF0}" srcOrd="0" destOrd="0" parTransId="{AC6F52CB-33BD-46BB-B45A-EAFB48C857E6}" sibTransId="{F567A1C8-8C6B-4352-8AAD-A76402D34BBB}"/>
    <dgm:cxn modelId="{DBA86523-A997-433B-943A-5F9519B87445}" type="presParOf" srcId="{6A8D4F1F-5512-45A1-AD1D-4E159C394BA1}" destId="{CCD9565E-1852-4360-A641-BE1DC38AC425}" srcOrd="0" destOrd="0" presId="urn:microsoft.com/office/officeart/2005/8/layout/hProcess4"/>
    <dgm:cxn modelId="{8E776D9E-6574-4CFB-9A1F-16773D82BC47}" type="presParOf" srcId="{6A8D4F1F-5512-45A1-AD1D-4E159C394BA1}" destId="{753F4ABC-934F-494A-B25B-D9B14B57463C}" srcOrd="1" destOrd="0" presId="urn:microsoft.com/office/officeart/2005/8/layout/hProcess4"/>
    <dgm:cxn modelId="{11B71A2B-71F4-497E-B722-1D8A6F86AF7D}" type="presParOf" srcId="{6A8D4F1F-5512-45A1-AD1D-4E159C394BA1}" destId="{1FA998D9-8B6E-488B-ACC6-F55F325F0DC2}" srcOrd="2" destOrd="0" presId="urn:microsoft.com/office/officeart/2005/8/layout/hProcess4"/>
    <dgm:cxn modelId="{66E4EFD6-48B4-4B3A-BF33-7FBD3CE7D637}" type="presParOf" srcId="{1FA998D9-8B6E-488B-ACC6-F55F325F0DC2}" destId="{8914166E-3DD8-47F8-AA1D-B53368C7A82D}" srcOrd="0" destOrd="0" presId="urn:microsoft.com/office/officeart/2005/8/layout/hProcess4"/>
    <dgm:cxn modelId="{C2DC8045-DA11-4585-B681-D66EDEC7B665}" type="presParOf" srcId="{8914166E-3DD8-47F8-AA1D-B53368C7A82D}" destId="{736A157F-6561-4D5B-8408-E189E88281F2}" srcOrd="0" destOrd="0" presId="urn:microsoft.com/office/officeart/2005/8/layout/hProcess4"/>
    <dgm:cxn modelId="{F9BB8545-874B-40A3-BBF4-65C8E11D3AB0}" type="presParOf" srcId="{8914166E-3DD8-47F8-AA1D-B53368C7A82D}" destId="{FC4C6030-747E-48FD-A592-CF6DDA7519A4}" srcOrd="1" destOrd="0" presId="urn:microsoft.com/office/officeart/2005/8/layout/hProcess4"/>
    <dgm:cxn modelId="{C4E7B29C-CD83-4970-AF49-EAC6A57CAD77}" type="presParOf" srcId="{8914166E-3DD8-47F8-AA1D-B53368C7A82D}" destId="{A0B49DD0-19A1-41EF-B0F5-8C14CBAC079E}" srcOrd="2" destOrd="0" presId="urn:microsoft.com/office/officeart/2005/8/layout/hProcess4"/>
    <dgm:cxn modelId="{BF3B9EB8-B1EC-4CCD-86BF-ACCC21EED5AD}" type="presParOf" srcId="{8914166E-3DD8-47F8-AA1D-B53368C7A82D}" destId="{5ED272A9-E92B-4719-96E4-A334C871DDEB}" srcOrd="3" destOrd="0" presId="urn:microsoft.com/office/officeart/2005/8/layout/hProcess4"/>
    <dgm:cxn modelId="{6288355E-8864-4DBB-8DEC-6551B03C2586}" type="presParOf" srcId="{8914166E-3DD8-47F8-AA1D-B53368C7A82D}" destId="{6AC715AD-8C45-45B6-98E6-935CC74C611D}" srcOrd="4" destOrd="0" presId="urn:microsoft.com/office/officeart/2005/8/layout/hProcess4"/>
    <dgm:cxn modelId="{593F4243-9AE0-441F-BC77-B070504DCD4C}" type="presParOf" srcId="{1FA998D9-8B6E-488B-ACC6-F55F325F0DC2}" destId="{5439EF25-BEDD-4B5A-B567-E1403F8FEB8E}" srcOrd="1" destOrd="0" presId="urn:microsoft.com/office/officeart/2005/8/layout/hProcess4"/>
    <dgm:cxn modelId="{70F220DA-33DC-449E-BDCF-178E134DA4D1}" type="presParOf" srcId="{1FA998D9-8B6E-488B-ACC6-F55F325F0DC2}" destId="{D2B376CC-0DB2-4366-A247-DA9A20DC3EEE}" srcOrd="2" destOrd="0" presId="urn:microsoft.com/office/officeart/2005/8/layout/hProcess4"/>
    <dgm:cxn modelId="{CE84A98D-94DB-46BA-81CD-4A39DF475513}" type="presParOf" srcId="{D2B376CC-0DB2-4366-A247-DA9A20DC3EEE}" destId="{3A589F14-FD66-4AB0-9E4A-3100F9FD4128}" srcOrd="0" destOrd="0" presId="urn:microsoft.com/office/officeart/2005/8/layout/hProcess4"/>
    <dgm:cxn modelId="{38D7743D-F55E-4F47-A2C9-D64D5A5918AE}" type="presParOf" srcId="{D2B376CC-0DB2-4366-A247-DA9A20DC3EEE}" destId="{7B116376-1966-411C-8846-0B561668FA8A}" srcOrd="1" destOrd="0" presId="urn:microsoft.com/office/officeart/2005/8/layout/hProcess4"/>
    <dgm:cxn modelId="{901BB90F-89FC-4CD5-BB90-BE9283A1422C}" type="presParOf" srcId="{D2B376CC-0DB2-4366-A247-DA9A20DC3EEE}" destId="{FBE99C35-5B44-4C8B-B0F9-D14622292693}" srcOrd="2" destOrd="0" presId="urn:microsoft.com/office/officeart/2005/8/layout/hProcess4"/>
    <dgm:cxn modelId="{7C2FCB7B-EB05-42E9-9EE6-FF77F7725C75}" type="presParOf" srcId="{D2B376CC-0DB2-4366-A247-DA9A20DC3EEE}" destId="{1A97D153-61A1-4F22-9B68-9BB314807883}" srcOrd="3" destOrd="0" presId="urn:microsoft.com/office/officeart/2005/8/layout/hProcess4"/>
    <dgm:cxn modelId="{04906CA0-05D7-4B0A-A59B-0220BBE41F64}" type="presParOf" srcId="{D2B376CC-0DB2-4366-A247-DA9A20DC3EEE}" destId="{BBCCE621-BDDB-4947-890B-BA7E088A1A65}" srcOrd="4" destOrd="0" presId="urn:microsoft.com/office/officeart/2005/8/layout/hProcess4"/>
    <dgm:cxn modelId="{CD4FBCB8-5845-49D5-8E77-1DD48144F218}" type="presParOf" srcId="{1FA998D9-8B6E-488B-ACC6-F55F325F0DC2}" destId="{6861BCAD-DE42-4BC1-ACF4-14F23BA682BF}" srcOrd="3" destOrd="0" presId="urn:microsoft.com/office/officeart/2005/8/layout/hProcess4"/>
    <dgm:cxn modelId="{DC4BBAD3-7B2E-4B33-9BCE-AE7639E28278}" type="presParOf" srcId="{1FA998D9-8B6E-488B-ACC6-F55F325F0DC2}" destId="{0A91573E-A7A7-4CBB-8BCA-A62335804491}" srcOrd="4" destOrd="0" presId="urn:microsoft.com/office/officeart/2005/8/layout/hProcess4"/>
    <dgm:cxn modelId="{C7AA3A8C-6494-4822-B2A1-E934A2508879}" type="presParOf" srcId="{0A91573E-A7A7-4CBB-8BCA-A62335804491}" destId="{35BF2434-D120-4F1E-91B4-19C267CD210F}" srcOrd="0" destOrd="0" presId="urn:microsoft.com/office/officeart/2005/8/layout/hProcess4"/>
    <dgm:cxn modelId="{537FD2AE-E9C1-4024-8AB8-4266C3CB6D89}" type="presParOf" srcId="{0A91573E-A7A7-4CBB-8BCA-A62335804491}" destId="{21AC5FF7-1AAA-4C2C-962E-B3C6EE613243}" srcOrd="1" destOrd="0" presId="urn:microsoft.com/office/officeart/2005/8/layout/hProcess4"/>
    <dgm:cxn modelId="{481EF2D5-CB95-4C85-8BD1-05A6C006F662}" type="presParOf" srcId="{0A91573E-A7A7-4CBB-8BCA-A62335804491}" destId="{2DC0960C-FE4F-461C-84F2-224DD3FDDD85}" srcOrd="2" destOrd="0" presId="urn:microsoft.com/office/officeart/2005/8/layout/hProcess4"/>
    <dgm:cxn modelId="{9A737644-99DD-4985-9A0A-B833C57E5DA8}" type="presParOf" srcId="{0A91573E-A7A7-4CBB-8BCA-A62335804491}" destId="{E99699DA-C282-434C-8D58-B6E86BFB4860}" srcOrd="3" destOrd="0" presId="urn:microsoft.com/office/officeart/2005/8/layout/hProcess4"/>
    <dgm:cxn modelId="{211BBC34-A13F-4544-AE83-63E204DAE732}" type="presParOf" srcId="{0A91573E-A7A7-4CBB-8BCA-A62335804491}" destId="{98083C54-280B-4834-8912-FE326C8D0BE4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89E611F-C6B4-4993-BFDF-BF2C50A307F5}" type="presOf" srcId="{D14807FD-294C-4482-91EE-34C09B13669A}" destId="{BCE275B7-D1E9-4183-BABE-507E54E1C931}" srcOrd="0" destOrd="0" presId="urn:microsoft.com/office/officeart/2005/8/layout/chevron1"/>
    <dgm:cxn modelId="{548E0D96-6906-4513-B6C3-1226FEFB4FE0}" type="presOf" srcId="{F351D095-D2C1-4F62-A18D-EFB4BA6E2AA9}" destId="{6BF66C9A-92D4-481D-A538-FD1A4E3DC0D5}" srcOrd="0" destOrd="0" presId="urn:microsoft.com/office/officeart/2005/8/layout/chevron1"/>
    <dgm:cxn modelId="{CD552879-7A6D-4988-AFAD-90BC9E8D0EF9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439EA419-0328-4E61-AA67-575191DA9DCE}" type="presOf" srcId="{EB61DA86-9B86-4759-822E-DA32F7AA073E}" destId="{135DB1F4-89C2-4733-9521-42FD5CECF10C}" srcOrd="0" destOrd="0" presId="urn:microsoft.com/office/officeart/2005/8/layout/chevron1"/>
    <dgm:cxn modelId="{75A56AA4-2B58-456C-859F-220D054AADE4}" type="presParOf" srcId="{0AECE453-CE2A-473C-BD27-70D00DA5B95C}" destId="{135DB1F4-89C2-4733-9521-42FD5CECF10C}" srcOrd="0" destOrd="0" presId="urn:microsoft.com/office/officeart/2005/8/layout/chevron1"/>
    <dgm:cxn modelId="{C0C4FE19-E0A0-4B5F-A07A-E7DB379FEB34}" type="presParOf" srcId="{0AECE453-CE2A-473C-BD27-70D00DA5B95C}" destId="{E1C76734-9ABE-473C-AD4C-C4BF49F91E97}" srcOrd="1" destOrd="0" presId="urn:microsoft.com/office/officeart/2005/8/layout/chevron1"/>
    <dgm:cxn modelId="{175BD0C9-1FBB-4EDD-9782-A3732CB6ACAD}" type="presParOf" srcId="{0AECE453-CE2A-473C-BD27-70D00DA5B95C}" destId="{6BF66C9A-92D4-481D-A538-FD1A4E3DC0D5}" srcOrd="2" destOrd="0" presId="urn:microsoft.com/office/officeart/2005/8/layout/chevron1"/>
    <dgm:cxn modelId="{C2F8B8B2-C245-4D78-9E68-6EE4DA8C9D79}" type="presParOf" srcId="{0AECE453-CE2A-473C-BD27-70D00DA5B95C}" destId="{691CB221-7DD5-49BE-AC21-301798066F30}" srcOrd="3" destOrd="0" presId="urn:microsoft.com/office/officeart/2005/8/layout/chevron1"/>
    <dgm:cxn modelId="{C9032670-3B88-4141-B3F5-0995335709F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tx2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A967A73-5475-4111-BAF0-3BA756CCABFD}" type="presOf" srcId="{D14807FD-294C-4482-91EE-34C09B13669A}" destId="{BCE275B7-D1E9-4183-BABE-507E54E1C931}" srcOrd="0" destOrd="0" presId="urn:microsoft.com/office/officeart/2005/8/layout/chevron1"/>
    <dgm:cxn modelId="{9BA9DA24-0DF4-4C22-9001-8C555A25BDD0}" type="presOf" srcId="{F351D095-D2C1-4F62-A18D-EFB4BA6E2AA9}" destId="{6BF66C9A-92D4-481D-A538-FD1A4E3DC0D5}" srcOrd="0" destOrd="0" presId="urn:microsoft.com/office/officeart/2005/8/layout/chevron1"/>
    <dgm:cxn modelId="{E2743FD6-9E2E-4227-8EA8-ED8933234ED7}" type="presOf" srcId="{EB61DA86-9B86-4759-822E-DA32F7AA073E}" destId="{135DB1F4-89C2-4733-9521-42FD5CECF10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A52AA5A2-6D1F-4F6C-8230-1B1DAC5D8798}" type="presOf" srcId="{9C869D94-BD20-4CF6-9CAA-58E706B950F6}" destId="{0AECE453-CE2A-473C-BD27-70D00DA5B95C}" srcOrd="0" destOrd="0" presId="urn:microsoft.com/office/officeart/2005/8/layout/chevron1"/>
    <dgm:cxn modelId="{10B9C396-8C8F-4798-A4D3-9EB47A1D2AD3}" type="presParOf" srcId="{0AECE453-CE2A-473C-BD27-70D00DA5B95C}" destId="{135DB1F4-89C2-4733-9521-42FD5CECF10C}" srcOrd="0" destOrd="0" presId="urn:microsoft.com/office/officeart/2005/8/layout/chevron1"/>
    <dgm:cxn modelId="{8D8EF9F3-522C-4013-B04C-E036708D4008}" type="presParOf" srcId="{0AECE453-CE2A-473C-BD27-70D00DA5B95C}" destId="{E1C76734-9ABE-473C-AD4C-C4BF49F91E97}" srcOrd="1" destOrd="0" presId="urn:microsoft.com/office/officeart/2005/8/layout/chevron1"/>
    <dgm:cxn modelId="{BE454BA5-88E2-452C-8EFD-4DD7FE5BC513}" type="presParOf" srcId="{0AECE453-CE2A-473C-BD27-70D00DA5B95C}" destId="{6BF66C9A-92D4-481D-A538-FD1A4E3DC0D5}" srcOrd="2" destOrd="0" presId="urn:microsoft.com/office/officeart/2005/8/layout/chevron1"/>
    <dgm:cxn modelId="{65BD160E-AB91-42B2-8469-5C0614E51BF0}" type="presParOf" srcId="{0AECE453-CE2A-473C-BD27-70D00DA5B95C}" destId="{691CB221-7DD5-49BE-AC21-301798066F30}" srcOrd="3" destOrd="0" presId="urn:microsoft.com/office/officeart/2005/8/layout/chevron1"/>
    <dgm:cxn modelId="{2C191F2D-41F5-4285-A433-4F942E43207E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B3FBD9A1-9E96-4B05-ADA4-D676C242164F}" type="doc">
      <dgm:prSet loTypeId="urn:microsoft.com/office/officeart/2005/8/layout/vList2" loCatId="list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95A4E54D-3F39-4278-81F6-EA35748A6217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763715-5F34-4661-BC64-A8350FC3B55C}" type="parTrans" cxnId="{06262C94-D39C-428F-8ACB-CC1B3F120CA6}">
      <dgm:prSet/>
      <dgm:spPr/>
      <dgm:t>
        <a:bodyPr/>
        <a:lstStyle/>
        <a:p>
          <a:endParaRPr lang="de-DE"/>
        </a:p>
      </dgm:t>
    </dgm:pt>
    <dgm:pt modelId="{6D84827F-B3EE-480F-B11B-A259A6C3A417}" type="sibTrans" cxnId="{06262C94-D39C-428F-8ACB-CC1B3F120CA6}">
      <dgm:prSet/>
      <dgm:spPr/>
      <dgm:t>
        <a:bodyPr/>
        <a:lstStyle/>
        <a:p>
          <a:endParaRPr lang="de-DE"/>
        </a:p>
      </dgm:t>
    </dgm:pt>
    <dgm:pt modelId="{2184AAD6-9A2C-4FB3-9A61-3BE58C847A4B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dzone.com/refcardz/getting-started-openstack-most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24B454B5-1875-49DE-9F08-2210C4C1D9AF}" type="parTrans" cxnId="{1E996444-E1E3-4E98-B783-85DD22124600}">
      <dgm:prSet/>
      <dgm:spPr/>
      <dgm:t>
        <a:bodyPr/>
        <a:lstStyle/>
        <a:p>
          <a:endParaRPr lang="de-DE"/>
        </a:p>
      </dgm:t>
    </dgm:pt>
    <dgm:pt modelId="{4DB6EC1E-A778-4A17-9976-56B05301B08E}" type="sibTrans" cxnId="{1E996444-E1E3-4E98-B783-85DD22124600}">
      <dgm:prSet/>
      <dgm:spPr/>
      <dgm:t>
        <a:bodyPr/>
        <a:lstStyle/>
        <a:p>
          <a:endParaRPr lang="de-DE"/>
        </a:p>
      </dgm:t>
    </dgm:pt>
    <dgm:pt modelId="{26BE7C14-7621-4829-8FDB-F54722BBB351}">
      <dgm:prSet phldrT="[Text]" custT="1"/>
      <dgm:spPr>
        <a:solidFill>
          <a:srgbClr val="E20074"/>
        </a:solidFill>
      </dgm:spPr>
      <dgm:t>
        <a:bodyPr/>
        <a:lstStyle/>
        <a:p>
          <a:r>
            <a:rPr lang="de-DE" sz="2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F905949-92EF-4C24-A9C8-4AADD52A2728}" type="parTrans" cxnId="{18B84BA8-9D54-4F47-A27C-B4EF786AB68D}">
      <dgm:prSet/>
      <dgm:spPr/>
      <dgm:t>
        <a:bodyPr/>
        <a:lstStyle/>
        <a:p>
          <a:endParaRPr lang="de-DE"/>
        </a:p>
      </dgm:t>
    </dgm:pt>
    <dgm:pt modelId="{F1698962-4368-43D2-9A33-BF10BE48AFC8}" type="sibTrans" cxnId="{18B84BA8-9D54-4F47-A27C-B4EF786AB68D}">
      <dgm:prSet/>
      <dgm:spPr/>
      <dgm:t>
        <a:bodyPr/>
        <a:lstStyle/>
        <a:p>
          <a:endParaRPr lang="de-DE"/>
        </a:p>
      </dgm:t>
    </dgm:pt>
    <dgm:pt modelId="{AD0FE73B-DA94-4EDB-88FB-A46F26CA74E2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://www.ofekcloud.com/media/images/1e7b5ca3-8b2e-4e2e-9898-5df978f0218aimage14.jpe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78D5A1A-B9AC-4F66-B0C9-29EA7E4472D7}" type="parTrans" cxnId="{F285BDBD-6E6F-4155-9FEA-82FFD8B10A45}">
      <dgm:prSet/>
      <dgm:spPr/>
      <dgm:t>
        <a:bodyPr/>
        <a:lstStyle/>
        <a:p>
          <a:endParaRPr lang="de-DE"/>
        </a:p>
      </dgm:t>
    </dgm:pt>
    <dgm:pt modelId="{4B9CB043-5036-4E69-A175-5C79465D3593}" type="sibTrans" cxnId="{F285BDBD-6E6F-4155-9FEA-82FFD8B10A45}">
      <dgm:prSet/>
      <dgm:spPr/>
      <dgm:t>
        <a:bodyPr/>
        <a:lstStyle/>
        <a:p>
          <a:endParaRPr lang="de-DE"/>
        </a:p>
      </dgm:t>
    </dgm:pt>
    <dgm:pt modelId="{F3E685CF-9490-4511-B061-9C350F7E8C6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www.all-stars.de/blog/wp-content/uploads/2014/04/planung.jpg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33298F72-C92D-41B7-853A-94FD87E9A124}" type="parTrans" cxnId="{16323209-4E61-4054-93CB-24DD37508197}">
      <dgm:prSet/>
      <dgm:spPr/>
      <dgm:t>
        <a:bodyPr/>
        <a:lstStyle/>
        <a:p>
          <a:endParaRPr lang="de-DE"/>
        </a:p>
      </dgm:t>
    </dgm:pt>
    <dgm:pt modelId="{4CBF7E65-7C7D-479E-A620-387C7642F12D}" type="sibTrans" cxnId="{16323209-4E61-4054-93CB-24DD37508197}">
      <dgm:prSet/>
      <dgm:spPr/>
      <dgm:t>
        <a:bodyPr/>
        <a:lstStyle/>
        <a:p>
          <a:endParaRPr lang="de-DE"/>
        </a:p>
      </dgm:t>
    </dgm:pt>
    <dgm:pt modelId="{B637715B-D72B-4C51-9342-B785C3306E9C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maclife.de/ratgeber/microsoft-office-ios-jetzt-icloud-unterstuetzung-10062588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459F658B-276C-4085-A8EE-F86DE40E208C}" type="parTrans" cxnId="{C0631AF4-DE6A-4DAD-A72A-2A8839D3686B}">
      <dgm:prSet/>
      <dgm:spPr/>
      <dgm:t>
        <a:bodyPr/>
        <a:lstStyle/>
        <a:p>
          <a:endParaRPr lang="de-DE"/>
        </a:p>
      </dgm:t>
    </dgm:pt>
    <dgm:pt modelId="{128C1576-FD2C-4C69-8090-1C1E12FFDECA}" type="sibTrans" cxnId="{C0631AF4-DE6A-4DAD-A72A-2A8839D3686B}">
      <dgm:prSet/>
      <dgm:spPr/>
      <dgm:t>
        <a:bodyPr/>
        <a:lstStyle/>
        <a:p>
          <a:endParaRPr lang="de-DE"/>
        </a:p>
      </dgm:t>
    </dgm:pt>
    <dgm:pt modelId="{AC9F85D0-23ED-4CB3-8DE8-BF77519DDDF3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yourdost.com/blog/2016/02/how-to-become-more-creative.html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191FBFE0-9F3C-423E-92D4-0C25E68B60EA}" type="parTrans" cxnId="{AD8E0212-5018-4F4D-BBC4-B61FCF34D9B4}">
      <dgm:prSet/>
      <dgm:spPr/>
      <dgm:t>
        <a:bodyPr/>
        <a:lstStyle/>
        <a:p>
          <a:endParaRPr lang="de-DE"/>
        </a:p>
      </dgm:t>
    </dgm:pt>
    <dgm:pt modelId="{A7827B90-875B-4258-9276-C2D591B8D9F7}" type="sibTrans" cxnId="{AD8E0212-5018-4F4D-BBC4-B61FCF34D9B4}">
      <dgm:prSet/>
      <dgm:spPr/>
      <dgm:t>
        <a:bodyPr/>
        <a:lstStyle/>
        <a:p>
          <a:endParaRPr lang="de-DE"/>
        </a:p>
      </dgm:t>
    </dgm:pt>
    <dgm:pt modelId="{0B24C4BC-DF72-480E-8AB6-A33062368E30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embritas.lt/project/duomenu-apdorojimo-centras/?lang=de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DD360B71-6DAB-490D-B4ED-D8E5A7019C94}" type="parTrans" cxnId="{9DAEB52A-1612-4427-9BC6-80AC9034B783}">
      <dgm:prSet/>
      <dgm:spPr/>
      <dgm:t>
        <a:bodyPr/>
        <a:lstStyle/>
        <a:p>
          <a:endParaRPr lang="de-DE"/>
        </a:p>
      </dgm:t>
    </dgm:pt>
    <dgm:pt modelId="{9F80740D-813B-4BC7-B009-0F2196BEC139}" type="sibTrans" cxnId="{9DAEB52A-1612-4427-9BC6-80AC9034B783}">
      <dgm:prSet/>
      <dgm:spPr/>
      <dgm:t>
        <a:bodyPr/>
        <a:lstStyle/>
        <a:p>
          <a:endParaRPr lang="de-DE"/>
        </a:p>
      </dgm:t>
    </dgm:pt>
    <dgm:pt modelId="{C34FF5A3-0623-4FBA-9C19-83FF46932954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s://www.openstack.org/brand/openstack-logo/logo-download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FA9F51E1-E9BF-444F-A668-EAC439FE3E78}" type="parTrans" cxnId="{305D5B95-666A-49C6-948D-19180F572130}">
      <dgm:prSet/>
      <dgm:spPr/>
      <dgm:t>
        <a:bodyPr/>
        <a:lstStyle/>
        <a:p>
          <a:endParaRPr lang="de-DE"/>
        </a:p>
      </dgm:t>
    </dgm:pt>
    <dgm:pt modelId="{5B43BC6A-DF01-4FDE-BABD-1F03D1D66CF3}" type="sibTrans" cxnId="{305D5B95-666A-49C6-948D-19180F572130}">
      <dgm:prSet/>
      <dgm:spPr/>
      <dgm:t>
        <a:bodyPr/>
        <a:lstStyle/>
        <a:p>
          <a:endParaRPr lang="de-DE"/>
        </a:p>
      </dgm:t>
    </dgm:pt>
    <dgm:pt modelId="{EA60EFBF-FCBE-447C-BCBC-E04AB5A0418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cloud-computing-blog.eu/was-ist-jetzt-eigentlich-cloud-computin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A54EF8D3-42EA-4BEB-BB97-F0E4CB87C3D6}" type="parTrans" cxnId="{AAB258C1-7359-4840-846B-CA8B0205C17B}">
      <dgm:prSet/>
      <dgm:spPr/>
      <dgm:t>
        <a:bodyPr/>
        <a:lstStyle/>
        <a:p>
          <a:endParaRPr lang="de-DE"/>
        </a:p>
      </dgm:t>
    </dgm:pt>
    <dgm:pt modelId="{FA9C2AD3-6F9C-4DDC-98E2-4B5ED7C85FA6}" type="sibTrans" cxnId="{AAB258C1-7359-4840-846B-CA8B0205C17B}">
      <dgm:prSet/>
      <dgm:spPr/>
      <dgm:t>
        <a:bodyPr/>
        <a:lstStyle/>
        <a:p>
          <a:endParaRPr lang="de-DE"/>
        </a:p>
      </dgm:t>
    </dgm:pt>
    <dgm:pt modelId="{66A47BEE-44D0-440B-B85C-198E7A95CF52}">
      <dgm:prSet phldrT="[Text]" custT="1"/>
      <dgm:spPr/>
      <dgm:t>
        <a:bodyPr/>
        <a:lstStyle/>
        <a:p>
          <a:r>
            <a:rPr lang="de-DE" sz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s://www.openstack.org/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EDA9556E-EEF3-4B7F-B6AE-F66FD3B23CBC}" type="parTrans" cxnId="{A5DCB8E6-7357-49BD-A36C-36E434CE89C7}">
      <dgm:prSet/>
      <dgm:spPr/>
      <dgm:t>
        <a:bodyPr/>
        <a:lstStyle/>
        <a:p>
          <a:endParaRPr lang="de-DE"/>
        </a:p>
      </dgm:t>
    </dgm:pt>
    <dgm:pt modelId="{69770DE9-171F-4538-A067-95741B85D405}" type="sibTrans" cxnId="{A5DCB8E6-7357-49BD-A36C-36E434CE89C7}">
      <dgm:prSet/>
      <dgm:spPr/>
      <dgm:t>
        <a:bodyPr/>
        <a:lstStyle/>
        <a:p>
          <a:endParaRPr lang="de-DE"/>
        </a:p>
      </dgm:t>
    </dgm:pt>
    <dgm:pt modelId="{AB8AB2FA-0C03-4ADB-828B-3AA5DB7D1B83}">
      <dgm:prSet phldrT="[Text]" custT="1"/>
      <dgm:spPr/>
      <dgm:t>
        <a:bodyPr/>
        <a:lstStyle/>
        <a:p>
          <a:r>
            <a:rPr lang="de-DE" sz="1200" b="1" u="sng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dirty="0">
            <a:latin typeface="Arial" pitchFamily="34" charset="0"/>
            <a:cs typeface="Arial" pitchFamily="34" charset="0"/>
          </a:endParaRPr>
        </a:p>
      </dgm:t>
    </dgm:pt>
    <dgm:pt modelId="{42C4DCB7-BA3B-4965-A688-630680FB111B}" type="parTrans" cxnId="{D17BBCAA-6B20-4F7B-9BF7-2C1BAA2C86F1}">
      <dgm:prSet/>
      <dgm:spPr/>
      <dgm:t>
        <a:bodyPr/>
        <a:lstStyle/>
        <a:p>
          <a:endParaRPr lang="de-DE"/>
        </a:p>
      </dgm:t>
    </dgm:pt>
    <dgm:pt modelId="{511FBC25-1C28-4543-9F02-FC6C38042313}" type="sibTrans" cxnId="{D17BBCAA-6B20-4F7B-9BF7-2C1BAA2C86F1}">
      <dgm:prSet/>
      <dgm:spPr/>
      <dgm:t>
        <a:bodyPr/>
        <a:lstStyle/>
        <a:p>
          <a:endParaRPr lang="de-DE"/>
        </a:p>
      </dgm:t>
    </dgm:pt>
    <dgm:pt modelId="{45ED6F3A-DA35-479A-954B-3B88A6823D5B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de.pinterest.com/pin/556053885218068326/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8BCC2C7B-9BDC-4B71-B515-C1E0F588A6E3}" type="parTrans" cxnId="{94F7B1E3-59A8-470D-8100-AE3B6B567204}">
      <dgm:prSet/>
      <dgm:spPr/>
      <dgm:t>
        <a:bodyPr/>
        <a:lstStyle/>
        <a:p>
          <a:endParaRPr lang="de-DE"/>
        </a:p>
      </dgm:t>
    </dgm:pt>
    <dgm:pt modelId="{2BA2969C-872A-417A-B3AB-66285E542535}" type="sibTrans" cxnId="{94F7B1E3-59A8-470D-8100-AE3B6B567204}">
      <dgm:prSet/>
      <dgm:spPr/>
      <dgm:t>
        <a:bodyPr/>
        <a:lstStyle/>
        <a:p>
          <a:endParaRPr lang="de-DE"/>
        </a:p>
      </dgm:t>
    </dgm:pt>
    <dgm:pt modelId="{79918483-C48A-47F2-A21D-29D2BB913BEB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30FFBD89-49B9-4069-81F1-097C74800E54}" type="parTrans" cxnId="{B753EDE4-6606-444C-92A1-48920489C5D0}">
      <dgm:prSet/>
      <dgm:spPr/>
      <dgm:t>
        <a:bodyPr/>
        <a:lstStyle/>
        <a:p>
          <a:endParaRPr lang="de-DE"/>
        </a:p>
      </dgm:t>
    </dgm:pt>
    <dgm:pt modelId="{01ED358E-5654-4BD3-B27A-41DD48B37DFD}" type="sibTrans" cxnId="{B753EDE4-6606-444C-92A1-48920489C5D0}">
      <dgm:prSet/>
      <dgm:spPr/>
      <dgm:t>
        <a:bodyPr/>
        <a:lstStyle/>
        <a:p>
          <a:endParaRPr lang="de-DE"/>
        </a:p>
      </dgm:t>
    </dgm:pt>
    <dgm:pt modelId="{2A22049B-0297-404C-8E1A-A020901477AE}">
      <dgm:prSet phldrT="[Text]" custT="1"/>
      <dgm:spPr/>
      <dgm:t>
        <a:bodyPr/>
        <a:lstStyle/>
        <a:p>
          <a:endParaRPr lang="de-DE" sz="900" dirty="0">
            <a:latin typeface="Arial" pitchFamily="34" charset="0"/>
            <a:cs typeface="Arial" pitchFamily="34" charset="0"/>
          </a:endParaRPr>
        </a:p>
      </dgm:t>
    </dgm:pt>
    <dgm:pt modelId="{110993FF-E015-4EEE-B460-EA0374222C5E}" type="parTrans" cxnId="{648D91D6-7D28-4844-B23A-07B0F7529F4D}">
      <dgm:prSet/>
      <dgm:spPr/>
      <dgm:t>
        <a:bodyPr/>
        <a:lstStyle/>
        <a:p>
          <a:endParaRPr lang="de-DE"/>
        </a:p>
      </dgm:t>
    </dgm:pt>
    <dgm:pt modelId="{6A997F21-2534-4004-A40E-DFB891E346D3}" type="sibTrans" cxnId="{648D91D6-7D28-4844-B23A-07B0F7529F4D}">
      <dgm:prSet/>
      <dgm:spPr/>
      <dgm:t>
        <a:bodyPr/>
        <a:lstStyle/>
        <a:p>
          <a:endParaRPr lang="de-DE"/>
        </a:p>
      </dgm:t>
    </dgm:pt>
    <dgm:pt modelId="{8A87AB47-06FA-4B1B-8726-ED9B70DF5FE9}">
      <dgm:prSet phldrT="[Text]" custT="1"/>
      <dgm:spPr/>
      <dgm:t>
        <a:bodyPr/>
        <a:lstStyle/>
        <a:p>
          <a:r>
            <a:rPr lang="de-DE" sz="11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://webneel.com/daily/creative-drawing-jennifer-tjorvi</a:t>
          </a:r>
          <a:r>
            <a:rPr lang="de-DE" sz="11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EE790E46-46A3-4908-BFCE-3F0017379B9D}" type="parTrans" cxnId="{C22F373C-3CE0-43C2-AFDE-CF4A073A7723}">
      <dgm:prSet/>
      <dgm:spPr/>
      <dgm:t>
        <a:bodyPr/>
        <a:lstStyle/>
        <a:p>
          <a:endParaRPr lang="de-DE"/>
        </a:p>
      </dgm:t>
    </dgm:pt>
    <dgm:pt modelId="{BAAD97AF-6BA3-4F35-B1C6-4C1829DAED96}" type="sibTrans" cxnId="{C22F373C-3CE0-43C2-AFDE-CF4A073A7723}">
      <dgm:prSet/>
      <dgm:spPr/>
      <dgm:t>
        <a:bodyPr/>
        <a:lstStyle/>
        <a:p>
          <a:endParaRPr lang="de-DE"/>
        </a:p>
      </dgm:t>
    </dgm:pt>
    <dgm:pt modelId="{D4BDAF16-5A50-4FD6-98AF-A2BF05ACEC86}" type="pres">
      <dgm:prSet presAssocID="{B3FBD9A1-9E96-4B05-ADA4-D676C2421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41B5F1E-BE5B-4512-8FFD-930037772452}" type="pres">
      <dgm:prSet presAssocID="{95A4E54D-3F39-4278-81F6-EA35748A6217}" presName="parentText" presStyleLbl="node1" presStyleIdx="0" presStyleCnt="2" custScaleY="5830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5D980B-F227-4000-9869-2D5A8FA31B13}" type="pres">
      <dgm:prSet presAssocID="{95A4E54D-3F39-4278-81F6-EA35748A6217}" presName="childText" presStyleLbl="revTx" presStyleIdx="0" presStyleCnt="2" custScaleY="13321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3283A4-BBAE-49F6-A32A-13D1CE661B99}" type="pres">
      <dgm:prSet presAssocID="{26BE7C14-7621-4829-8FDB-F54722BBB351}" presName="parentText" presStyleLbl="node1" presStyleIdx="1" presStyleCnt="2" custScaleY="53655" custLinFactNeighborX="-792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F5A6700-E73A-4C76-AB30-5E258848545C}" type="pres">
      <dgm:prSet presAssocID="{26BE7C14-7621-4829-8FDB-F54722BBB3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BC0533D-2696-4DA4-ABB9-AC2B89BA2428}" type="presOf" srcId="{B637715B-D72B-4C51-9342-B785C3306E9C}" destId="{BF5A6700-E73A-4C76-AB30-5E258848545C}" srcOrd="0" destOrd="3" presId="urn:microsoft.com/office/officeart/2005/8/layout/vList2"/>
    <dgm:cxn modelId="{B763D799-5818-4113-99C4-E68D247150F4}" type="presOf" srcId="{26BE7C14-7621-4829-8FDB-F54722BBB351}" destId="{003283A4-BBAE-49F6-A32A-13D1CE661B99}" srcOrd="0" destOrd="0" presId="urn:microsoft.com/office/officeart/2005/8/layout/vList2"/>
    <dgm:cxn modelId="{BC7D76A9-1B3E-4349-BA76-F7D035C09CCA}" type="presOf" srcId="{EA60EFBF-FCBE-447C-BCBC-E04AB5A04182}" destId="{135D980B-F227-4000-9869-2D5A8FA31B13}" srcOrd="0" destOrd="3" presId="urn:microsoft.com/office/officeart/2005/8/layout/vList2"/>
    <dgm:cxn modelId="{63166064-2D97-4B3D-BCCB-3A105B7AD3E6}" type="presOf" srcId="{66A47BEE-44D0-440B-B85C-198E7A95CF52}" destId="{135D980B-F227-4000-9869-2D5A8FA31B13}" srcOrd="0" destOrd="1" presId="urn:microsoft.com/office/officeart/2005/8/layout/vList2"/>
    <dgm:cxn modelId="{B0B4E84C-B159-42F6-9EEF-1119516064FD}" type="presOf" srcId="{79918483-C48A-47F2-A21D-29D2BB913BEB}" destId="{135D980B-F227-4000-9869-2D5A8FA31B13}" srcOrd="0" destOrd="0" presId="urn:microsoft.com/office/officeart/2005/8/layout/vList2"/>
    <dgm:cxn modelId="{B56E2813-EACF-4854-BDCA-F94E0FC91974}" type="presOf" srcId="{AB8AB2FA-0C03-4ADB-828B-3AA5DB7D1B83}" destId="{135D980B-F227-4000-9869-2D5A8FA31B13}" srcOrd="0" destOrd="4" presId="urn:microsoft.com/office/officeart/2005/8/layout/vList2"/>
    <dgm:cxn modelId="{FD3D13A5-A8DC-4982-BA2B-D4DA2120CFBA}" type="presOf" srcId="{0B24C4BC-DF72-480E-8AB6-A33062368E30}" destId="{BF5A6700-E73A-4C76-AB30-5E258848545C}" srcOrd="0" destOrd="6" presId="urn:microsoft.com/office/officeart/2005/8/layout/vList2"/>
    <dgm:cxn modelId="{B753EDE4-6606-444C-92A1-48920489C5D0}" srcId="{95A4E54D-3F39-4278-81F6-EA35748A6217}" destId="{79918483-C48A-47F2-A21D-29D2BB913BEB}" srcOrd="0" destOrd="0" parTransId="{30FFBD89-49B9-4069-81F1-097C74800E54}" sibTransId="{01ED358E-5654-4BD3-B27A-41DD48B37DFD}"/>
    <dgm:cxn modelId="{C22F373C-3CE0-43C2-AFDE-CF4A073A7723}" srcId="{26BE7C14-7621-4829-8FDB-F54722BBB351}" destId="{8A87AB47-06FA-4B1B-8726-ED9B70DF5FE9}" srcOrd="5" destOrd="0" parTransId="{EE790E46-46A3-4908-BFCE-3F0017379B9D}" sibTransId="{BAAD97AF-6BA3-4F35-B1C6-4C1829DAED96}"/>
    <dgm:cxn modelId="{155ABE32-D96A-4A65-853F-F07B7AE99934}" type="presOf" srcId="{AC9F85D0-23ED-4CB3-8DE8-BF77519DDDF3}" destId="{BF5A6700-E73A-4C76-AB30-5E258848545C}" srcOrd="0" destOrd="4" presId="urn:microsoft.com/office/officeart/2005/8/layout/vList2"/>
    <dgm:cxn modelId="{A76663D6-5C71-4111-AFB1-603B3776A2F5}" type="presOf" srcId="{F3E685CF-9490-4511-B061-9C350F7E8C63}" destId="{BF5A6700-E73A-4C76-AB30-5E258848545C}" srcOrd="0" destOrd="2" presId="urn:microsoft.com/office/officeart/2005/8/layout/vList2"/>
    <dgm:cxn modelId="{C85D2BA3-B56B-4582-8D4E-9D8B204F9E59}" type="presOf" srcId="{AD0FE73B-DA94-4EDB-88FB-A46F26CA74E2}" destId="{BF5A6700-E73A-4C76-AB30-5E258848545C}" srcOrd="0" destOrd="1" presId="urn:microsoft.com/office/officeart/2005/8/layout/vList2"/>
    <dgm:cxn modelId="{06262C94-D39C-428F-8ACB-CC1B3F120CA6}" srcId="{B3FBD9A1-9E96-4B05-ADA4-D676C242164F}" destId="{95A4E54D-3F39-4278-81F6-EA35748A6217}" srcOrd="0" destOrd="0" parTransId="{4F763715-5F34-4661-BC64-A8350FC3B55C}" sibTransId="{6D84827F-B3EE-480F-B11B-A259A6C3A417}"/>
    <dgm:cxn modelId="{305D5B95-666A-49C6-948D-19180F572130}" srcId="{26BE7C14-7621-4829-8FDB-F54722BBB351}" destId="{C34FF5A3-0623-4FBA-9C19-83FF46932954}" srcOrd="7" destOrd="0" parTransId="{FA9F51E1-E9BF-444F-A668-EAC439FE3E78}" sibTransId="{5B43BC6A-DF01-4FDE-BABD-1F03D1D66CF3}"/>
    <dgm:cxn modelId="{A5DCB8E6-7357-49BD-A36C-36E434CE89C7}" srcId="{95A4E54D-3F39-4278-81F6-EA35748A6217}" destId="{66A47BEE-44D0-440B-B85C-198E7A95CF52}" srcOrd="1" destOrd="0" parTransId="{EDA9556E-EEF3-4B7F-B6AE-F66FD3B23CBC}" sibTransId="{69770DE9-171F-4538-A067-95741B85D405}"/>
    <dgm:cxn modelId="{2C3ED88D-2B6B-4B86-B147-37B5D26B707B}" type="presOf" srcId="{95A4E54D-3F39-4278-81F6-EA35748A6217}" destId="{941B5F1E-BE5B-4512-8FFD-930037772452}" srcOrd="0" destOrd="0" presId="urn:microsoft.com/office/officeart/2005/8/layout/vList2"/>
    <dgm:cxn modelId="{648D91D6-7D28-4844-B23A-07B0F7529F4D}" srcId="{26BE7C14-7621-4829-8FDB-F54722BBB351}" destId="{2A22049B-0297-404C-8E1A-A020901477AE}" srcOrd="0" destOrd="0" parTransId="{110993FF-E015-4EEE-B460-EA0374222C5E}" sibTransId="{6A997F21-2534-4004-A40E-DFB891E346D3}"/>
    <dgm:cxn modelId="{F285BDBD-6E6F-4155-9FEA-82FFD8B10A45}" srcId="{26BE7C14-7621-4829-8FDB-F54722BBB351}" destId="{AD0FE73B-DA94-4EDB-88FB-A46F26CA74E2}" srcOrd="1" destOrd="0" parTransId="{178D5A1A-B9AC-4F66-B0C9-29EA7E4472D7}" sibTransId="{4B9CB043-5036-4E69-A175-5C79465D3593}"/>
    <dgm:cxn modelId="{18B84BA8-9D54-4F47-A27C-B4EF786AB68D}" srcId="{B3FBD9A1-9E96-4B05-ADA4-D676C242164F}" destId="{26BE7C14-7621-4829-8FDB-F54722BBB351}" srcOrd="1" destOrd="0" parTransId="{5F905949-92EF-4C24-A9C8-4AADD52A2728}" sibTransId="{F1698962-4368-43D2-9A33-BF10BE48AFC8}"/>
    <dgm:cxn modelId="{D17BBCAA-6B20-4F7B-9BF7-2C1BAA2C86F1}" srcId="{95A4E54D-3F39-4278-81F6-EA35748A6217}" destId="{AB8AB2FA-0C03-4ADB-828B-3AA5DB7D1B83}" srcOrd="4" destOrd="0" parTransId="{42C4DCB7-BA3B-4965-A688-630680FB111B}" sibTransId="{511FBC25-1C28-4543-9F02-FC6C38042313}"/>
    <dgm:cxn modelId="{0217E14D-84D5-44BE-90C1-5692074C3769}" type="presOf" srcId="{2184AAD6-9A2C-4FB3-9A61-3BE58C847A4B}" destId="{135D980B-F227-4000-9869-2D5A8FA31B13}" srcOrd="0" destOrd="2" presId="urn:microsoft.com/office/officeart/2005/8/layout/vList2"/>
    <dgm:cxn modelId="{AAB258C1-7359-4840-846B-CA8B0205C17B}" srcId="{95A4E54D-3F39-4278-81F6-EA35748A6217}" destId="{EA60EFBF-FCBE-447C-BCBC-E04AB5A04182}" srcOrd="3" destOrd="0" parTransId="{A54EF8D3-42EA-4BEB-BB97-F0E4CB87C3D6}" sibTransId="{FA9C2AD3-6F9C-4DDC-98E2-4B5ED7C85FA6}"/>
    <dgm:cxn modelId="{C0631AF4-DE6A-4DAD-A72A-2A8839D3686B}" srcId="{26BE7C14-7621-4829-8FDB-F54722BBB351}" destId="{B637715B-D72B-4C51-9342-B785C3306E9C}" srcOrd="3" destOrd="0" parTransId="{459F658B-276C-4085-A8EE-F86DE40E208C}" sibTransId="{128C1576-FD2C-4C69-8090-1C1E12FFDECA}"/>
    <dgm:cxn modelId="{284EAF84-120C-49FF-A71E-493BCB5C85F7}" type="presOf" srcId="{C34FF5A3-0623-4FBA-9C19-83FF46932954}" destId="{BF5A6700-E73A-4C76-AB30-5E258848545C}" srcOrd="0" destOrd="7" presId="urn:microsoft.com/office/officeart/2005/8/layout/vList2"/>
    <dgm:cxn modelId="{1592CEFF-759F-47C3-B8FC-B536F47F4A69}" type="presOf" srcId="{2A22049B-0297-404C-8E1A-A020901477AE}" destId="{BF5A6700-E73A-4C76-AB30-5E258848545C}" srcOrd="0" destOrd="0" presId="urn:microsoft.com/office/officeart/2005/8/layout/vList2"/>
    <dgm:cxn modelId="{AD8E0212-5018-4F4D-BBC4-B61FCF34D9B4}" srcId="{26BE7C14-7621-4829-8FDB-F54722BBB351}" destId="{AC9F85D0-23ED-4CB3-8DE8-BF77519DDDF3}" srcOrd="4" destOrd="0" parTransId="{191FBFE0-9F3C-423E-92D4-0C25E68B60EA}" sibTransId="{A7827B90-875B-4258-9276-C2D591B8D9F7}"/>
    <dgm:cxn modelId="{8C69121B-0B70-42D8-9C09-5069F1A9B64A}" type="presOf" srcId="{8A87AB47-06FA-4B1B-8726-ED9B70DF5FE9}" destId="{BF5A6700-E73A-4C76-AB30-5E258848545C}" srcOrd="0" destOrd="5" presId="urn:microsoft.com/office/officeart/2005/8/layout/vList2"/>
    <dgm:cxn modelId="{9DAEB52A-1612-4427-9BC6-80AC9034B783}" srcId="{26BE7C14-7621-4829-8FDB-F54722BBB351}" destId="{0B24C4BC-DF72-480E-8AB6-A33062368E30}" srcOrd="6" destOrd="0" parTransId="{DD360B71-6DAB-490D-B4ED-D8E5A7019C94}" sibTransId="{9F80740D-813B-4BC7-B009-0F2196BEC139}"/>
    <dgm:cxn modelId="{28863114-B43B-4EC7-8C48-B65AC1AD64CE}" type="presOf" srcId="{45ED6F3A-DA35-479A-954B-3B88A6823D5B}" destId="{BF5A6700-E73A-4C76-AB30-5E258848545C}" srcOrd="0" destOrd="8" presId="urn:microsoft.com/office/officeart/2005/8/layout/vList2"/>
    <dgm:cxn modelId="{94F7B1E3-59A8-470D-8100-AE3B6B567204}" srcId="{26BE7C14-7621-4829-8FDB-F54722BBB351}" destId="{45ED6F3A-DA35-479A-954B-3B88A6823D5B}" srcOrd="8" destOrd="0" parTransId="{8BCC2C7B-9BDC-4B71-B515-C1E0F588A6E3}" sibTransId="{2BA2969C-872A-417A-B3AB-66285E542535}"/>
    <dgm:cxn modelId="{1E996444-E1E3-4E98-B783-85DD22124600}" srcId="{95A4E54D-3F39-4278-81F6-EA35748A6217}" destId="{2184AAD6-9A2C-4FB3-9A61-3BE58C847A4B}" srcOrd="2" destOrd="0" parTransId="{24B454B5-1875-49DE-9F08-2210C4C1D9AF}" sibTransId="{4DB6EC1E-A778-4A17-9976-56B05301B08E}"/>
    <dgm:cxn modelId="{16323209-4E61-4054-93CB-24DD37508197}" srcId="{26BE7C14-7621-4829-8FDB-F54722BBB351}" destId="{F3E685CF-9490-4511-B061-9C350F7E8C63}" srcOrd="2" destOrd="0" parTransId="{33298F72-C92D-41B7-853A-94FD87E9A124}" sibTransId="{4CBF7E65-7C7D-479E-A620-387C7642F12D}"/>
    <dgm:cxn modelId="{0C8C9D90-74D8-4D15-9C97-65B70FC67DED}" type="presOf" srcId="{B3FBD9A1-9E96-4B05-ADA4-D676C242164F}" destId="{D4BDAF16-5A50-4FD6-98AF-A2BF05ACEC86}" srcOrd="0" destOrd="0" presId="urn:microsoft.com/office/officeart/2005/8/layout/vList2"/>
    <dgm:cxn modelId="{2B2EE841-41F0-4B59-899A-6AEB1ADDB49A}" type="presParOf" srcId="{D4BDAF16-5A50-4FD6-98AF-A2BF05ACEC86}" destId="{941B5F1E-BE5B-4512-8FFD-930037772452}" srcOrd="0" destOrd="0" presId="urn:microsoft.com/office/officeart/2005/8/layout/vList2"/>
    <dgm:cxn modelId="{86579E92-312A-4991-8F39-69E3BA96ACBE}" type="presParOf" srcId="{D4BDAF16-5A50-4FD6-98AF-A2BF05ACEC86}" destId="{135D980B-F227-4000-9869-2D5A8FA31B13}" srcOrd="1" destOrd="0" presId="urn:microsoft.com/office/officeart/2005/8/layout/vList2"/>
    <dgm:cxn modelId="{7F27F169-2492-41E2-BC68-358714D27D81}" type="presParOf" srcId="{D4BDAF16-5A50-4FD6-98AF-A2BF05ACEC86}" destId="{003283A4-BBAE-49F6-A32A-13D1CE661B99}" srcOrd="2" destOrd="0" presId="urn:microsoft.com/office/officeart/2005/8/layout/vList2"/>
    <dgm:cxn modelId="{6788C2B7-E064-41F5-A0F3-478AD477251E}" type="presParOf" srcId="{D4BDAF16-5A50-4FD6-98AF-A2BF05ACEC86}" destId="{BF5A6700-E73A-4C76-AB30-5E258848545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de-DE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A0BE235-7F30-45E6-8652-1DF06B99A8F4}" type="presOf" srcId="{D14807FD-294C-4482-91EE-34C09B13669A}" destId="{BCE275B7-D1E9-4183-BABE-507E54E1C931}" srcOrd="0" destOrd="0" presId="urn:microsoft.com/office/officeart/2005/8/layout/chevron1"/>
    <dgm:cxn modelId="{27A3E0F2-0C78-48FC-B3C8-9BC26E24C326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C0477DC-03B9-46A7-87D6-55931B87CFE2}" type="presOf" srcId="{9C869D94-BD20-4CF6-9CAA-58E706B950F6}" destId="{0AECE453-CE2A-473C-BD27-70D00DA5B95C}" srcOrd="0" destOrd="0" presId="urn:microsoft.com/office/officeart/2005/8/layout/chevron1"/>
    <dgm:cxn modelId="{F7B503CA-A6BC-4E72-9C25-B7A2FFD91D87}" type="presOf" srcId="{EB61DA86-9B86-4759-822E-DA32F7AA073E}" destId="{135DB1F4-89C2-4733-9521-42FD5CECF10C}" srcOrd="0" destOrd="0" presId="urn:microsoft.com/office/officeart/2005/8/layout/chevron1"/>
    <dgm:cxn modelId="{A69D111C-1A30-4F3A-BEC2-FC315654328C}" type="presParOf" srcId="{0AECE453-CE2A-473C-BD27-70D00DA5B95C}" destId="{135DB1F4-89C2-4733-9521-42FD5CECF10C}" srcOrd="0" destOrd="0" presId="urn:microsoft.com/office/officeart/2005/8/layout/chevron1"/>
    <dgm:cxn modelId="{4397E1C8-C5FE-481F-A565-537553CF9524}" type="presParOf" srcId="{0AECE453-CE2A-473C-BD27-70D00DA5B95C}" destId="{E1C76734-9ABE-473C-AD4C-C4BF49F91E97}" srcOrd="1" destOrd="0" presId="urn:microsoft.com/office/officeart/2005/8/layout/chevron1"/>
    <dgm:cxn modelId="{66282758-104C-4BBF-A802-6F91DC4458FD}" type="presParOf" srcId="{0AECE453-CE2A-473C-BD27-70D00DA5B95C}" destId="{6BF66C9A-92D4-481D-A538-FD1A4E3DC0D5}" srcOrd="2" destOrd="0" presId="urn:microsoft.com/office/officeart/2005/8/layout/chevron1"/>
    <dgm:cxn modelId="{D5B10A11-D301-46C1-8179-283D0986C7B4}" type="presParOf" srcId="{0AECE453-CE2A-473C-BD27-70D00DA5B95C}" destId="{691CB221-7DD5-49BE-AC21-301798066F30}" srcOrd="3" destOrd="0" presId="urn:microsoft.com/office/officeart/2005/8/layout/chevron1"/>
    <dgm:cxn modelId="{13CC8E01-9EB8-4047-9625-2E81AB11D0E6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3CDAD735-0FA4-4F18-A4FF-BF26A4239D5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6417D77C-5D52-4157-A3FC-E8833CB22090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0744F3D2-7C7A-428A-AD9F-7FC12B7EE67E}" type="parTrans" cxnId="{AA449E5E-C76A-4B13-8BBD-6DE508363A30}">
      <dgm:prSet/>
      <dgm:spPr/>
      <dgm:t>
        <a:bodyPr/>
        <a:lstStyle/>
        <a:p>
          <a:endParaRPr lang="de-DE"/>
        </a:p>
      </dgm:t>
    </dgm:pt>
    <dgm:pt modelId="{DE9AE1D7-1DFD-4190-B2EB-57211E6306B3}" type="sibTrans" cxnId="{AA449E5E-C76A-4B13-8BBD-6DE508363A30}">
      <dgm:prSet/>
      <dgm:spPr/>
      <dgm:t>
        <a:bodyPr/>
        <a:lstStyle/>
        <a:p>
          <a:endParaRPr lang="de-DE"/>
        </a:p>
      </dgm:t>
    </dgm:pt>
    <dgm:pt modelId="{A78A4A3F-9887-4D76-99D4-58BD373D59A1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91E1BF-1719-416F-8A83-74560AB23AE9}" type="parTrans" cxnId="{4E5EC8F1-968D-402F-BCEB-B485173D6E17}">
      <dgm:prSet/>
      <dgm:spPr/>
      <dgm:t>
        <a:bodyPr/>
        <a:lstStyle/>
        <a:p>
          <a:endParaRPr lang="de-DE"/>
        </a:p>
      </dgm:t>
    </dgm:pt>
    <dgm:pt modelId="{B381B817-0B14-43FB-BBDA-9F2F1A428961}" type="sibTrans" cxnId="{4E5EC8F1-968D-402F-BCEB-B485173D6E17}">
      <dgm:prSet/>
      <dgm:spPr/>
      <dgm:t>
        <a:bodyPr/>
        <a:lstStyle/>
        <a:p>
          <a:endParaRPr lang="de-DE"/>
        </a:p>
      </dgm:t>
    </dgm:pt>
    <dgm:pt modelId="{FDA67156-A2DC-4DC5-9306-7EDD41ECDE29}">
      <dgm:prSet custT="1"/>
      <dgm:spPr/>
      <dgm:t>
        <a:bodyPr/>
        <a:lstStyle/>
        <a:p>
          <a:r>
            <a:rPr lang="de-DE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279B510-B9EE-4568-BED9-7E8A8E82C0BA}" type="parTrans" cxnId="{801128F3-8E1B-4162-84F5-0B2E032F40CF}">
      <dgm:prSet/>
      <dgm:spPr/>
      <dgm:t>
        <a:bodyPr/>
        <a:lstStyle/>
        <a:p>
          <a:endParaRPr lang="de-DE"/>
        </a:p>
      </dgm:t>
    </dgm:pt>
    <dgm:pt modelId="{AC360540-A4C1-4BF3-8651-F59EFC2FDA45}" type="sibTrans" cxnId="{801128F3-8E1B-4162-84F5-0B2E032F40CF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A449E5E-C76A-4B13-8BBD-6DE508363A30}" srcId="{4025DB9A-0ED1-4F00-BB3A-1E38CF3525C6}" destId="{6417D77C-5D52-4157-A3FC-E8833CB22090}" srcOrd="1" destOrd="0" parTransId="{0744F3D2-7C7A-428A-AD9F-7FC12B7EE67E}" sibTransId="{DE9AE1D7-1DFD-4190-B2EB-57211E6306B3}"/>
    <dgm:cxn modelId="{8D79CBB4-2577-41C7-AE1A-2973730189E0}" type="presOf" srcId="{8C253FF5-4B38-46AA-9604-5740D538721B}" destId="{36EDF564-50E4-47F9-8DB5-BE5E735EFF0D}" srcOrd="1" destOrd="0" presId="urn:microsoft.com/office/officeart/2005/8/layout/list1"/>
    <dgm:cxn modelId="{BDCF0F9A-9C1E-4E26-99C8-363FBCD7875B}" type="presOf" srcId="{3C07000C-9F24-45B6-AE25-D54ADF954BCD}" destId="{9BB4A022-7BE9-4D96-9DCD-74C58E8AC746}" srcOrd="0" destOrd="0" presId="urn:microsoft.com/office/officeart/2005/8/layout/list1"/>
    <dgm:cxn modelId="{4C87F659-9BAE-48C4-A861-5EE7E3CF29CA}" type="presOf" srcId="{601AD484-C774-4133-8EDD-E25DC144CF18}" destId="{1D380A2A-1436-4BC6-9682-4A6F1756B36A}" srcOrd="0" destOrd="0" presId="urn:microsoft.com/office/officeart/2005/8/layout/list1"/>
    <dgm:cxn modelId="{3F8995CE-37C4-4120-AE15-1CCF01FE7A30}" type="presOf" srcId="{4025DB9A-0ED1-4F00-BB3A-1E38CF3525C6}" destId="{2CFFDFEA-2A6E-4B3D-970A-80A69C636168}" srcOrd="0" destOrd="0" presId="urn:microsoft.com/office/officeart/2005/8/layout/list1"/>
    <dgm:cxn modelId="{801128F3-8E1B-4162-84F5-0B2E032F40CF}" srcId="{2145B9AC-3DB4-49BD-8B9D-67935175CE51}" destId="{FDA67156-A2DC-4DC5-9306-7EDD41ECDE29}" srcOrd="2" destOrd="0" parTransId="{D279B510-B9EE-4568-BED9-7E8A8E82C0BA}" sibTransId="{AC360540-A4C1-4BF3-8651-F59EFC2FDA45}"/>
    <dgm:cxn modelId="{75B58117-4063-4353-8CF9-C77730890520}" type="presOf" srcId="{6417D77C-5D52-4157-A3FC-E8833CB22090}" destId="{148A2150-C136-4328-AEF5-922C2C3CE943}" srcOrd="0" destOrd="1" presId="urn:microsoft.com/office/officeart/2005/8/layout/list1"/>
    <dgm:cxn modelId="{453F4E19-C1A9-4F7B-AB68-33DD5A27DF68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D2DDC43F-5717-4A6B-A664-B541EC100A4A}" type="presOf" srcId="{FDA67156-A2DC-4DC5-9306-7EDD41ECDE29}" destId="{1D380A2A-1436-4BC6-9682-4A6F1756B36A}" srcOrd="0" destOrd="2" presId="urn:microsoft.com/office/officeart/2005/8/layout/list1"/>
    <dgm:cxn modelId="{4466AE42-9562-4D4B-A462-4015CB7A5CEE}" type="presOf" srcId="{2145B9AC-3DB4-49BD-8B9D-67935175CE51}" destId="{858BC837-E5A9-4C97-BB1B-4A6AFF7AC6A1}" srcOrd="0" destOrd="0" presId="urn:microsoft.com/office/officeart/2005/8/layout/list1"/>
    <dgm:cxn modelId="{4E5EC8F1-968D-402F-BCEB-B485173D6E17}" srcId="{2145B9AC-3DB4-49BD-8B9D-67935175CE51}" destId="{A78A4A3F-9887-4D76-99D4-58BD373D59A1}" srcOrd="1" destOrd="0" parTransId="{D291E1BF-1719-416F-8A83-74560AB23AE9}" sibTransId="{B381B817-0B14-43FB-BBDA-9F2F1A428961}"/>
    <dgm:cxn modelId="{8AA7A17A-38B0-4E04-803D-940A83AB8B3A}" type="presOf" srcId="{4025DB9A-0ED1-4F00-BB3A-1E38CF3525C6}" destId="{BA975037-BE6C-4B32-8DBF-C84C73617461}" srcOrd="1" destOrd="0" presId="urn:microsoft.com/office/officeart/2005/8/layout/list1"/>
    <dgm:cxn modelId="{01A55361-EB1D-4B79-AA16-B489B7487A9C}" type="presOf" srcId="{A78A4A3F-9887-4D76-99D4-58BD373D59A1}" destId="{1D380A2A-1436-4BC6-9682-4A6F1756B36A}" srcOrd="0" destOrd="1" presId="urn:microsoft.com/office/officeart/2005/8/layout/list1"/>
    <dgm:cxn modelId="{14B097BF-010A-4398-B6B7-223BFAC64252}" type="presOf" srcId="{69659624-A646-42E4-A835-F1EBBBD9138B}" destId="{4FBAF1EA-119C-4A7D-BED0-7FD2E02DC8D3}" srcOrd="0" destOrd="0" presId="urn:microsoft.com/office/officeart/2005/8/layout/list1"/>
    <dgm:cxn modelId="{7866F279-C672-4726-AD5B-C12BD5FDB3F2}" type="presOf" srcId="{2145B9AC-3DB4-49BD-8B9D-67935175CE51}" destId="{6B6A897F-5665-48D8-ACE1-FC4B644D487D}" srcOrd="1" destOrd="0" presId="urn:microsoft.com/office/officeart/2005/8/layout/list1"/>
    <dgm:cxn modelId="{B4AFF267-6DDF-46CC-A1C2-02B9B2BD075A}" type="presOf" srcId="{54518278-5A2B-46A8-AB9B-56E9194056B6}" destId="{148A2150-C136-4328-AEF5-922C2C3CE943}" srcOrd="0" destOrd="0" presId="urn:microsoft.com/office/officeart/2005/8/layout/list1"/>
    <dgm:cxn modelId="{50A8906C-645B-4C41-8036-D6D1F208B993}" type="presOf" srcId="{3CDAD735-0FA4-4F18-A4FF-BF26A4239D57}" destId="{4FBAF1EA-119C-4A7D-BED0-7FD2E02DC8D3}" srcOrd="0" destOrd="1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C25ACE1-BEE4-442D-9163-F6CFBFE05AA8}" srcId="{8C253FF5-4B38-46AA-9604-5740D538721B}" destId="{3CDAD735-0FA4-4F18-A4FF-BF26A4239D57}" srcOrd="1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D3E4FFBC-4C06-450A-9C6B-60E737B64A20}" type="presParOf" srcId="{9BB4A022-7BE9-4D96-9DCD-74C58E8AC746}" destId="{214F8A8D-5B2A-4C46-8AEB-8645900EAAFC}" srcOrd="0" destOrd="0" presId="urn:microsoft.com/office/officeart/2005/8/layout/list1"/>
    <dgm:cxn modelId="{BF10D4AA-8537-4719-A6B8-4A6E465B9DB1}" type="presParOf" srcId="{214F8A8D-5B2A-4C46-8AEB-8645900EAAFC}" destId="{0C7FECAC-14A2-4CFA-A84E-D34ECF27687B}" srcOrd="0" destOrd="0" presId="urn:microsoft.com/office/officeart/2005/8/layout/list1"/>
    <dgm:cxn modelId="{409B36E4-F134-4DAD-8285-87D9CE092B16}" type="presParOf" srcId="{214F8A8D-5B2A-4C46-8AEB-8645900EAAFC}" destId="{36EDF564-50E4-47F9-8DB5-BE5E735EFF0D}" srcOrd="1" destOrd="0" presId="urn:microsoft.com/office/officeart/2005/8/layout/list1"/>
    <dgm:cxn modelId="{FD40C7DD-4971-4EF5-9A34-AC9A3750A734}" type="presParOf" srcId="{9BB4A022-7BE9-4D96-9DCD-74C58E8AC746}" destId="{0929419D-D828-4EB1-BE85-545FAC75147D}" srcOrd="1" destOrd="0" presId="urn:microsoft.com/office/officeart/2005/8/layout/list1"/>
    <dgm:cxn modelId="{FABD7B21-9819-4D64-9459-485664520BAE}" type="presParOf" srcId="{9BB4A022-7BE9-4D96-9DCD-74C58E8AC746}" destId="{4FBAF1EA-119C-4A7D-BED0-7FD2E02DC8D3}" srcOrd="2" destOrd="0" presId="urn:microsoft.com/office/officeart/2005/8/layout/list1"/>
    <dgm:cxn modelId="{38653CC8-5745-4EFD-987C-B148D196F088}" type="presParOf" srcId="{9BB4A022-7BE9-4D96-9DCD-74C58E8AC746}" destId="{3F047EE5-19F6-4FFB-A6EB-10F6CB893674}" srcOrd="3" destOrd="0" presId="urn:microsoft.com/office/officeart/2005/8/layout/list1"/>
    <dgm:cxn modelId="{0FC634F0-A011-49E7-9974-9099805039B7}" type="presParOf" srcId="{9BB4A022-7BE9-4D96-9DCD-74C58E8AC746}" destId="{BD9540F2-B1BE-4B3B-A1A2-74B6265040F7}" srcOrd="4" destOrd="0" presId="urn:microsoft.com/office/officeart/2005/8/layout/list1"/>
    <dgm:cxn modelId="{C44594E6-EADF-46B7-8398-446BCF27DE41}" type="presParOf" srcId="{BD9540F2-B1BE-4B3B-A1A2-74B6265040F7}" destId="{2CFFDFEA-2A6E-4B3D-970A-80A69C636168}" srcOrd="0" destOrd="0" presId="urn:microsoft.com/office/officeart/2005/8/layout/list1"/>
    <dgm:cxn modelId="{0F91D75A-06EF-410A-9C03-BFC52E6189F9}" type="presParOf" srcId="{BD9540F2-B1BE-4B3B-A1A2-74B6265040F7}" destId="{BA975037-BE6C-4B32-8DBF-C84C73617461}" srcOrd="1" destOrd="0" presId="urn:microsoft.com/office/officeart/2005/8/layout/list1"/>
    <dgm:cxn modelId="{79CABACB-229C-49E7-8F94-71CAD13E8132}" type="presParOf" srcId="{9BB4A022-7BE9-4D96-9DCD-74C58E8AC746}" destId="{7B63C310-DF5C-4B83-921A-43B067EC887A}" srcOrd="5" destOrd="0" presId="urn:microsoft.com/office/officeart/2005/8/layout/list1"/>
    <dgm:cxn modelId="{27B6CE59-EBB5-47CF-B5D0-4E40689F5967}" type="presParOf" srcId="{9BB4A022-7BE9-4D96-9DCD-74C58E8AC746}" destId="{148A2150-C136-4328-AEF5-922C2C3CE943}" srcOrd="6" destOrd="0" presId="urn:microsoft.com/office/officeart/2005/8/layout/list1"/>
    <dgm:cxn modelId="{78A9F884-1CD6-4CD2-8480-92ADA8BC087C}" type="presParOf" srcId="{9BB4A022-7BE9-4D96-9DCD-74C58E8AC746}" destId="{0FC8BB4E-8250-4F46-B57E-26C6F3C17C11}" srcOrd="7" destOrd="0" presId="urn:microsoft.com/office/officeart/2005/8/layout/list1"/>
    <dgm:cxn modelId="{8BCACDFF-27EC-40B9-BDDB-2D22EF0A9566}" type="presParOf" srcId="{9BB4A022-7BE9-4D96-9DCD-74C58E8AC746}" destId="{730D1FBB-F471-4D30-A724-DB54D34EC6E9}" srcOrd="8" destOrd="0" presId="urn:microsoft.com/office/officeart/2005/8/layout/list1"/>
    <dgm:cxn modelId="{01F1B74A-6193-440D-92E9-396B4599AAF7}" type="presParOf" srcId="{730D1FBB-F471-4D30-A724-DB54D34EC6E9}" destId="{858BC837-E5A9-4C97-BB1B-4A6AFF7AC6A1}" srcOrd="0" destOrd="0" presId="urn:microsoft.com/office/officeart/2005/8/layout/list1"/>
    <dgm:cxn modelId="{D6F4B641-DC48-411B-A79D-06F6F38DFF81}" type="presParOf" srcId="{730D1FBB-F471-4D30-A724-DB54D34EC6E9}" destId="{6B6A897F-5665-48D8-ACE1-FC4B644D487D}" srcOrd="1" destOrd="0" presId="urn:microsoft.com/office/officeart/2005/8/layout/list1"/>
    <dgm:cxn modelId="{E37924BC-A38C-4D98-A0F9-C7509E225AE6}" type="presParOf" srcId="{9BB4A022-7BE9-4D96-9DCD-74C58E8AC746}" destId="{7140714F-DE80-44C7-8816-CA26445D9ECC}" srcOrd="9" destOrd="0" presId="urn:microsoft.com/office/officeart/2005/8/layout/list1"/>
    <dgm:cxn modelId="{1B34138E-A00E-48FE-BE02-561D9E07866A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1AD24BB1-192C-41B0-9BBD-7C852060A32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5ABE8-DB13-4E71-A77A-D9A7DC2C3221}" type="parTrans" cxnId="{CBF79C02-385B-44CC-9FC8-DD6014A0A158}">
      <dgm:prSet/>
      <dgm:spPr/>
      <dgm:t>
        <a:bodyPr/>
        <a:lstStyle/>
        <a:p>
          <a:endParaRPr lang="de-DE"/>
        </a:p>
      </dgm:t>
    </dgm:pt>
    <dgm:pt modelId="{73304F28-F177-42F5-B1D8-382343E265ED}" type="sibTrans" cxnId="{CBF79C02-385B-44CC-9FC8-DD6014A0A158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1860080-8133-42DC-A588-2C7C89D4F01C}" type="presOf" srcId="{3CDAD735-0FA4-4F18-A4FF-BF26A4239D57}" destId="{4FBAF1EA-119C-4A7D-BED0-7FD2E02DC8D3}" srcOrd="0" destOrd="2" presId="urn:microsoft.com/office/officeart/2005/8/layout/list1"/>
    <dgm:cxn modelId="{C3A59182-C0DD-4E5F-8307-06B8AD8FFD61}" type="presOf" srcId="{4025DB9A-0ED1-4F00-BB3A-1E38CF3525C6}" destId="{BA975037-BE6C-4B32-8DBF-C84C73617461}" srcOrd="1" destOrd="0" presId="urn:microsoft.com/office/officeart/2005/8/layout/list1"/>
    <dgm:cxn modelId="{DE959DEE-65E7-4747-8163-464AEB1DB585}" type="presOf" srcId="{4025DB9A-0ED1-4F00-BB3A-1E38CF3525C6}" destId="{2CFFDFEA-2A6E-4B3D-970A-80A69C636168}" srcOrd="0" destOrd="0" presId="urn:microsoft.com/office/officeart/2005/8/layout/list1"/>
    <dgm:cxn modelId="{3A0D8CC2-7B66-4E1B-B19B-A24853696060}" type="presOf" srcId="{3C07000C-9F24-45B6-AE25-D54ADF954BCD}" destId="{9BB4A022-7BE9-4D96-9DCD-74C58E8AC746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B5C38476-00D7-4B03-8DF7-17CBB0CACBE4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F96009A0-DAE2-4FC2-834E-2B7CB24D2061}" type="presOf" srcId="{4EAC3585-C35B-475B-A0B4-C56466A81D68}" destId="{148A2150-C136-4328-AEF5-922C2C3CE943}" srcOrd="0" destOrd="2" presId="urn:microsoft.com/office/officeart/2005/8/layout/list1"/>
    <dgm:cxn modelId="{05E9775B-DAA5-48BB-ABDA-03232087629E}" type="presOf" srcId="{2145B9AC-3DB4-49BD-8B9D-67935175CE51}" destId="{6B6A897F-5665-48D8-ACE1-FC4B644D487D}" srcOrd="1" destOrd="0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22DE5C3B-3471-4585-95A8-2DE87E12E9DE}" type="presOf" srcId="{1AD24BB1-192C-41B0-9BBD-7C852060A328}" destId="{148A2150-C136-4328-AEF5-922C2C3CE943}" srcOrd="0" destOrd="1" presId="urn:microsoft.com/office/officeart/2005/8/layout/list1"/>
    <dgm:cxn modelId="{DB5B0672-5D8D-470D-BC78-C4EF18BD2D8C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3CEEF903-F00D-4FF7-8DF2-641D902F055E}" type="presOf" srcId="{601AD484-C774-4133-8EDD-E25DC144CF18}" destId="{1D380A2A-1436-4BC6-9682-4A6F1756B36A}" srcOrd="0" destOrd="0" presId="urn:microsoft.com/office/officeart/2005/8/layout/list1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E0588B8-57AD-43C2-B0DA-1227F66E004B}" type="presOf" srcId="{54518278-5A2B-46A8-AB9B-56E9194056B6}" destId="{148A2150-C136-4328-AEF5-922C2C3CE943}" srcOrd="0" destOrd="0" presId="urn:microsoft.com/office/officeart/2005/8/layout/list1"/>
    <dgm:cxn modelId="{CBF79C02-385B-44CC-9FC8-DD6014A0A158}" srcId="{4025DB9A-0ED1-4F00-BB3A-1E38CF3525C6}" destId="{1AD24BB1-192C-41B0-9BBD-7C852060A328}" srcOrd="1" destOrd="0" parTransId="{2135ABE8-DB13-4E71-A77A-D9A7DC2C3221}" sibTransId="{73304F28-F177-42F5-B1D8-382343E265ED}"/>
    <dgm:cxn modelId="{4956D7F9-5DEE-4180-8112-5AC323445473}" type="presOf" srcId="{8C253FF5-4B38-46AA-9604-5740D538721B}" destId="{0C7FECAC-14A2-4CFA-A84E-D34ECF27687B}" srcOrd="0" destOrd="0" presId="urn:microsoft.com/office/officeart/2005/8/layout/list1"/>
    <dgm:cxn modelId="{18C12850-DB3E-410F-B719-AF8678AED47B}" type="presOf" srcId="{F2B4C515-55AA-47D4-9B31-B9AE1EADBD52}" destId="{1D380A2A-1436-4BC6-9682-4A6F1756B36A}" srcOrd="0" destOrd="2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578B405C-7632-49FA-8636-CF7CAA3DCE42}" type="presOf" srcId="{7568D8BD-3F6A-43A9-8AAE-FAA6DFA2E7E3}" destId="{4FBAF1EA-119C-4A7D-BED0-7FD2E02DC8D3}" srcOrd="0" destOrd="1" presId="urn:microsoft.com/office/officeart/2005/8/layout/list1"/>
    <dgm:cxn modelId="{A0A4DF29-DD50-44B3-A38C-96E7A9AB74D3}" type="presOf" srcId="{69659624-A646-42E4-A835-F1EBBBD9138B}" destId="{4FBAF1EA-119C-4A7D-BED0-7FD2E02DC8D3}" srcOrd="0" destOrd="0" presId="urn:microsoft.com/office/officeart/2005/8/layout/list1"/>
    <dgm:cxn modelId="{6D3E5496-A31F-40AB-9DB4-C9E45657ADA9}" type="presOf" srcId="{2145B9AC-3DB4-49BD-8B9D-67935175CE51}" destId="{858BC837-E5A9-4C97-BB1B-4A6AFF7AC6A1}" srcOrd="0" destOrd="0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CDFD2526-65E1-4D09-8A83-14271FB64B25}" type="presParOf" srcId="{9BB4A022-7BE9-4D96-9DCD-74C58E8AC746}" destId="{214F8A8D-5B2A-4C46-8AEB-8645900EAAFC}" srcOrd="0" destOrd="0" presId="urn:microsoft.com/office/officeart/2005/8/layout/list1"/>
    <dgm:cxn modelId="{9979EF2B-2E74-4A1A-ADDB-AE0F745DEA5E}" type="presParOf" srcId="{214F8A8D-5B2A-4C46-8AEB-8645900EAAFC}" destId="{0C7FECAC-14A2-4CFA-A84E-D34ECF27687B}" srcOrd="0" destOrd="0" presId="urn:microsoft.com/office/officeart/2005/8/layout/list1"/>
    <dgm:cxn modelId="{4E1F44F3-5E77-409D-89DD-89C2053DE5A5}" type="presParOf" srcId="{214F8A8D-5B2A-4C46-8AEB-8645900EAAFC}" destId="{36EDF564-50E4-47F9-8DB5-BE5E735EFF0D}" srcOrd="1" destOrd="0" presId="urn:microsoft.com/office/officeart/2005/8/layout/list1"/>
    <dgm:cxn modelId="{D440978A-82C0-4800-B316-3D42F4A5484D}" type="presParOf" srcId="{9BB4A022-7BE9-4D96-9DCD-74C58E8AC746}" destId="{0929419D-D828-4EB1-BE85-545FAC75147D}" srcOrd="1" destOrd="0" presId="urn:microsoft.com/office/officeart/2005/8/layout/list1"/>
    <dgm:cxn modelId="{B135BFD8-CCF4-4E89-B4AF-4720F383C7BF}" type="presParOf" srcId="{9BB4A022-7BE9-4D96-9DCD-74C58E8AC746}" destId="{4FBAF1EA-119C-4A7D-BED0-7FD2E02DC8D3}" srcOrd="2" destOrd="0" presId="urn:microsoft.com/office/officeart/2005/8/layout/list1"/>
    <dgm:cxn modelId="{63031305-F335-4DBA-A407-6AEB3A995165}" type="presParOf" srcId="{9BB4A022-7BE9-4D96-9DCD-74C58E8AC746}" destId="{3F047EE5-19F6-4FFB-A6EB-10F6CB893674}" srcOrd="3" destOrd="0" presId="urn:microsoft.com/office/officeart/2005/8/layout/list1"/>
    <dgm:cxn modelId="{D13C5BF0-A6C9-43C2-9F71-F6CD8CD6986F}" type="presParOf" srcId="{9BB4A022-7BE9-4D96-9DCD-74C58E8AC746}" destId="{BD9540F2-B1BE-4B3B-A1A2-74B6265040F7}" srcOrd="4" destOrd="0" presId="urn:microsoft.com/office/officeart/2005/8/layout/list1"/>
    <dgm:cxn modelId="{2C5DC051-3840-44C0-8BCD-97CF861B7DF2}" type="presParOf" srcId="{BD9540F2-B1BE-4B3B-A1A2-74B6265040F7}" destId="{2CFFDFEA-2A6E-4B3D-970A-80A69C636168}" srcOrd="0" destOrd="0" presId="urn:microsoft.com/office/officeart/2005/8/layout/list1"/>
    <dgm:cxn modelId="{FE88A4D3-CDA3-485D-8BB9-DCAB9F9BDCE6}" type="presParOf" srcId="{BD9540F2-B1BE-4B3B-A1A2-74B6265040F7}" destId="{BA975037-BE6C-4B32-8DBF-C84C73617461}" srcOrd="1" destOrd="0" presId="urn:microsoft.com/office/officeart/2005/8/layout/list1"/>
    <dgm:cxn modelId="{EDA57FD8-7510-44D9-ADFD-C837B22A90E6}" type="presParOf" srcId="{9BB4A022-7BE9-4D96-9DCD-74C58E8AC746}" destId="{7B63C310-DF5C-4B83-921A-43B067EC887A}" srcOrd="5" destOrd="0" presId="urn:microsoft.com/office/officeart/2005/8/layout/list1"/>
    <dgm:cxn modelId="{0171FB97-7FF4-4BAD-A150-5F9C442776D5}" type="presParOf" srcId="{9BB4A022-7BE9-4D96-9DCD-74C58E8AC746}" destId="{148A2150-C136-4328-AEF5-922C2C3CE943}" srcOrd="6" destOrd="0" presId="urn:microsoft.com/office/officeart/2005/8/layout/list1"/>
    <dgm:cxn modelId="{8380D982-15C2-4B0A-9572-F16E5DD5E8C8}" type="presParOf" srcId="{9BB4A022-7BE9-4D96-9DCD-74C58E8AC746}" destId="{0FC8BB4E-8250-4F46-B57E-26C6F3C17C11}" srcOrd="7" destOrd="0" presId="urn:microsoft.com/office/officeart/2005/8/layout/list1"/>
    <dgm:cxn modelId="{63B060FA-9AD1-4A46-AFB6-EBC9E06EA83D}" type="presParOf" srcId="{9BB4A022-7BE9-4D96-9DCD-74C58E8AC746}" destId="{730D1FBB-F471-4D30-A724-DB54D34EC6E9}" srcOrd="8" destOrd="0" presId="urn:microsoft.com/office/officeart/2005/8/layout/list1"/>
    <dgm:cxn modelId="{FB0B0983-9E07-4CBE-BE81-F53CE9BB5101}" type="presParOf" srcId="{730D1FBB-F471-4D30-A724-DB54D34EC6E9}" destId="{858BC837-E5A9-4C97-BB1B-4A6AFF7AC6A1}" srcOrd="0" destOrd="0" presId="urn:microsoft.com/office/officeart/2005/8/layout/list1"/>
    <dgm:cxn modelId="{4DD807F4-3AAB-4284-AA3A-60B1C8D9C4E0}" type="presParOf" srcId="{730D1FBB-F471-4D30-A724-DB54D34EC6E9}" destId="{6B6A897F-5665-48D8-ACE1-FC4B644D487D}" srcOrd="1" destOrd="0" presId="urn:microsoft.com/office/officeart/2005/8/layout/list1"/>
    <dgm:cxn modelId="{1611B99D-07E2-4C33-B14F-256BBBC1A064}" type="presParOf" srcId="{9BB4A022-7BE9-4D96-9DCD-74C58E8AC746}" destId="{7140714F-DE80-44C7-8816-CA26445D9ECC}" srcOrd="9" destOrd="0" presId="urn:microsoft.com/office/officeart/2005/8/layout/list1"/>
    <dgm:cxn modelId="{17FB53D3-413B-494F-A858-FFB0638EB863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47CE7E2-26CD-4206-8668-9B1F909F77D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8835C976-DC7F-4C48-8293-245385A4898C}" type="presOf" srcId="{D14807FD-294C-4482-91EE-34C09B13669A}" destId="{BCE275B7-D1E9-4183-BABE-507E54E1C931}" srcOrd="0" destOrd="0" presId="urn:microsoft.com/office/officeart/2005/8/layout/chevron1"/>
    <dgm:cxn modelId="{268C028E-3E0D-4EF6-9634-21301AFE64F7}" type="presOf" srcId="{EB61DA86-9B86-4759-822E-DA32F7AA073E}" destId="{135DB1F4-89C2-4733-9521-42FD5CECF10C}" srcOrd="0" destOrd="0" presId="urn:microsoft.com/office/officeart/2005/8/layout/chevron1"/>
    <dgm:cxn modelId="{CF2FFAE4-9190-444A-BEA4-D0B2CE207321}" type="presOf" srcId="{F351D095-D2C1-4F62-A18D-EFB4BA6E2AA9}" destId="{6BF66C9A-92D4-481D-A538-FD1A4E3DC0D5}" srcOrd="0" destOrd="0" presId="urn:microsoft.com/office/officeart/2005/8/layout/chevron1"/>
    <dgm:cxn modelId="{F806A029-C944-4BA8-9053-69F50A942711}" type="presParOf" srcId="{0AECE453-CE2A-473C-BD27-70D00DA5B95C}" destId="{135DB1F4-89C2-4733-9521-42FD5CECF10C}" srcOrd="0" destOrd="0" presId="urn:microsoft.com/office/officeart/2005/8/layout/chevron1"/>
    <dgm:cxn modelId="{227042F2-E3F9-4A41-A690-FA8F79FDC0A6}" type="presParOf" srcId="{0AECE453-CE2A-473C-BD27-70D00DA5B95C}" destId="{E1C76734-9ABE-473C-AD4C-C4BF49F91E97}" srcOrd="1" destOrd="0" presId="urn:microsoft.com/office/officeart/2005/8/layout/chevron1"/>
    <dgm:cxn modelId="{7F829D01-4104-440A-83DA-BDCAF51C099E}" type="presParOf" srcId="{0AECE453-CE2A-473C-BD27-70D00DA5B95C}" destId="{6BF66C9A-92D4-481D-A538-FD1A4E3DC0D5}" srcOrd="2" destOrd="0" presId="urn:microsoft.com/office/officeart/2005/8/layout/chevron1"/>
    <dgm:cxn modelId="{4C40B4E8-B42A-4C5B-B2D2-EDDD5571CB95}" type="presParOf" srcId="{0AECE453-CE2A-473C-BD27-70D00DA5B95C}" destId="{691CB221-7DD5-49BE-AC21-301798066F30}" srcOrd="3" destOrd="0" presId="urn:microsoft.com/office/officeart/2005/8/layout/chevron1"/>
    <dgm:cxn modelId="{4B1CA307-1919-4576-A321-0210C0649BB0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4EAC3585-C35B-475B-A0B4-C56466A81D6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CD1F08A-DD7D-40CD-85F0-57C1C3FD9C0F}" type="parTrans" cxnId="{F4F86C27-AFA9-4D24-A21E-4CA55B4A5B19}">
      <dgm:prSet/>
      <dgm:spPr/>
      <dgm:t>
        <a:bodyPr/>
        <a:lstStyle/>
        <a:p>
          <a:endParaRPr lang="de-DE"/>
        </a:p>
      </dgm:t>
    </dgm:pt>
    <dgm:pt modelId="{DA7AA25F-ADD3-45F0-9D4D-FD3B724A23B7}" type="sibTrans" cxnId="{F4F86C27-AFA9-4D24-A21E-4CA55B4A5B19}">
      <dgm:prSet/>
      <dgm:spPr/>
      <dgm:t>
        <a:bodyPr/>
        <a:lstStyle/>
        <a:p>
          <a:endParaRPr lang="de-DE"/>
        </a:p>
      </dgm:t>
    </dgm:pt>
    <dgm:pt modelId="{FFC1A143-CE45-4600-AE1D-BBB5AF931319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1F71D0-7DEC-43A3-A2BE-6FAF5BB8A0C2}" type="parTrans" cxnId="{D6C38B53-6341-43B7-9CE6-AABE5BB81237}">
      <dgm:prSet/>
      <dgm:spPr/>
      <dgm:t>
        <a:bodyPr/>
        <a:lstStyle/>
        <a:p>
          <a:endParaRPr lang="de-DE"/>
        </a:p>
      </dgm:t>
    </dgm:pt>
    <dgm:pt modelId="{2104D3C9-7B03-47C1-AD45-C5ABBCAF7C8D}" type="sibTrans" cxnId="{D6C38B53-6341-43B7-9CE6-AABE5BB81237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161D1077-677B-463C-A101-3A11FD24F177}" type="presOf" srcId="{2145B9AC-3DB4-49BD-8B9D-67935175CE51}" destId="{6B6A897F-5665-48D8-ACE1-FC4B644D487D}" srcOrd="1" destOrd="0" presId="urn:microsoft.com/office/officeart/2005/8/layout/list1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D947E909-A4FA-4760-A91C-70F365207B89}" type="presOf" srcId="{4025DB9A-0ED1-4F00-BB3A-1E38CF3525C6}" destId="{BA975037-BE6C-4B32-8DBF-C84C73617461}" srcOrd="1" destOrd="0" presId="urn:microsoft.com/office/officeart/2005/8/layout/list1"/>
    <dgm:cxn modelId="{D026DBED-ED73-4024-A45B-4DE1BA9E1BA8}" type="presOf" srcId="{F2B4C515-55AA-47D4-9B31-B9AE1EADBD52}" destId="{1D380A2A-1436-4BC6-9682-4A6F1756B36A}" srcOrd="0" destOrd="2" presId="urn:microsoft.com/office/officeart/2005/8/layout/list1"/>
    <dgm:cxn modelId="{94014D9E-99D6-4C41-A470-B745CE75C438}" type="presOf" srcId="{4025DB9A-0ED1-4F00-BB3A-1E38CF3525C6}" destId="{2CFFDFEA-2A6E-4B3D-970A-80A69C636168}" srcOrd="0" destOrd="0" presId="urn:microsoft.com/office/officeart/2005/8/layout/list1"/>
    <dgm:cxn modelId="{F4F86C27-AFA9-4D24-A21E-4CA55B4A5B19}" srcId="{4025DB9A-0ED1-4F00-BB3A-1E38CF3525C6}" destId="{4EAC3585-C35B-475B-A0B4-C56466A81D68}" srcOrd="2" destOrd="0" parTransId="{ECD1F08A-DD7D-40CD-85F0-57C1C3FD9C0F}" sibTransId="{DA7AA25F-ADD3-45F0-9D4D-FD3B724A23B7}"/>
    <dgm:cxn modelId="{97428B0F-8867-4442-AEFF-9A2DFC2C26FA}" type="presOf" srcId="{8C253FF5-4B38-46AA-9604-5740D538721B}" destId="{0C7FECAC-14A2-4CFA-A84E-D34ECF27687B}" srcOrd="0" destOrd="0" presId="urn:microsoft.com/office/officeart/2005/8/layout/list1"/>
    <dgm:cxn modelId="{2630C018-226F-4F48-830B-10111EF2BBB0}" type="presOf" srcId="{3C07000C-9F24-45B6-AE25-D54ADF954BCD}" destId="{9BB4A022-7BE9-4D96-9DCD-74C58E8AC746}" srcOrd="0" destOrd="0" presId="urn:microsoft.com/office/officeart/2005/8/layout/list1"/>
    <dgm:cxn modelId="{3177CABB-2B2D-4AF7-8E84-DF0BD05D13A4}" type="presOf" srcId="{D31ACE79-716D-4988-9827-903EFAC73783}" destId="{1D380A2A-1436-4BC6-9682-4A6F1756B36A}" srcOrd="0" destOrd="1" presId="urn:microsoft.com/office/officeart/2005/8/layout/list1"/>
    <dgm:cxn modelId="{9CCD9BD3-7681-4624-ADF8-C6F82956891E}" type="presOf" srcId="{4EAC3585-C35B-475B-A0B4-C56466A81D68}" destId="{148A2150-C136-4328-AEF5-922C2C3CE943}" srcOrd="0" destOrd="2" presId="urn:microsoft.com/office/officeart/2005/8/layout/list1"/>
    <dgm:cxn modelId="{D6C38B53-6341-43B7-9CE6-AABE5BB81237}" srcId="{4025DB9A-0ED1-4F00-BB3A-1E38CF3525C6}" destId="{FFC1A143-CE45-4600-AE1D-BBB5AF931319}" srcOrd="1" destOrd="0" parTransId="{231F71D0-7DEC-43A3-A2BE-6FAF5BB8A0C2}" sibTransId="{2104D3C9-7B03-47C1-AD45-C5ABBCAF7C8D}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067F6018-672F-456D-94BA-3A30889D0927}" type="presOf" srcId="{FFC1A143-CE45-4600-AE1D-BBB5AF931319}" destId="{148A2150-C136-4328-AEF5-922C2C3CE943}" srcOrd="0" destOrd="1" presId="urn:microsoft.com/office/officeart/2005/8/layout/list1"/>
    <dgm:cxn modelId="{1DD8FC20-D341-41B1-A71E-3A6BECD5846F}" type="presOf" srcId="{54518278-5A2B-46A8-AB9B-56E9194056B6}" destId="{148A2150-C136-4328-AEF5-922C2C3CE943}" srcOrd="0" destOrd="0" presId="urn:microsoft.com/office/officeart/2005/8/layout/list1"/>
    <dgm:cxn modelId="{51C5703D-6334-4C63-9EEF-8FD02C7C70CE}" type="presOf" srcId="{69659624-A646-42E4-A835-F1EBBBD9138B}" destId="{4FBAF1EA-119C-4A7D-BED0-7FD2E02DC8D3}" srcOrd="0" destOrd="0" presId="urn:microsoft.com/office/officeart/2005/8/layout/list1"/>
    <dgm:cxn modelId="{5EBEDFF7-F804-4962-97D9-29A9EFEE42DD}" type="presOf" srcId="{601AD484-C774-4133-8EDD-E25DC144CF18}" destId="{1D380A2A-1436-4BC6-9682-4A6F1756B36A}" srcOrd="0" destOrd="0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153D9D62-B6EE-4ACD-9B33-703E10CD03B3}" type="presOf" srcId="{2145B9AC-3DB4-49BD-8B9D-67935175CE51}" destId="{858BC837-E5A9-4C97-BB1B-4A6AFF7AC6A1}" srcOrd="0" destOrd="0" presId="urn:microsoft.com/office/officeart/2005/8/layout/list1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F5284D11-6B78-4CD3-88CE-FB3E200281B3}" type="presOf" srcId="{3CDAD735-0FA4-4F18-A4FF-BF26A4239D57}" destId="{4FBAF1EA-119C-4A7D-BED0-7FD2E02DC8D3}" srcOrd="0" destOrd="2" presId="urn:microsoft.com/office/officeart/2005/8/layout/list1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1137B6FC-A76E-4630-887A-F8D304846858}" type="presOf" srcId="{8C253FF5-4B38-46AA-9604-5740D538721B}" destId="{36EDF564-50E4-47F9-8DB5-BE5E735EFF0D}" srcOrd="1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FB1E418-98E2-404D-915B-ECA94149EE97}" type="presOf" srcId="{7568D8BD-3F6A-43A9-8AAE-FAA6DFA2E7E3}" destId="{4FBAF1EA-119C-4A7D-BED0-7FD2E02DC8D3}" srcOrd="0" destOrd="1" presId="urn:microsoft.com/office/officeart/2005/8/layout/list1"/>
    <dgm:cxn modelId="{368F6A7A-ED14-43D3-93F2-49A18681F77B}" type="presParOf" srcId="{9BB4A022-7BE9-4D96-9DCD-74C58E8AC746}" destId="{214F8A8D-5B2A-4C46-8AEB-8645900EAAFC}" srcOrd="0" destOrd="0" presId="urn:microsoft.com/office/officeart/2005/8/layout/list1"/>
    <dgm:cxn modelId="{0AECF9DE-6D92-4129-9D2D-C926497AD046}" type="presParOf" srcId="{214F8A8D-5B2A-4C46-8AEB-8645900EAAFC}" destId="{0C7FECAC-14A2-4CFA-A84E-D34ECF27687B}" srcOrd="0" destOrd="0" presId="urn:microsoft.com/office/officeart/2005/8/layout/list1"/>
    <dgm:cxn modelId="{669AB286-3642-444F-BDB3-76455573B782}" type="presParOf" srcId="{214F8A8D-5B2A-4C46-8AEB-8645900EAAFC}" destId="{36EDF564-50E4-47F9-8DB5-BE5E735EFF0D}" srcOrd="1" destOrd="0" presId="urn:microsoft.com/office/officeart/2005/8/layout/list1"/>
    <dgm:cxn modelId="{2AE44A08-FA81-446E-AD64-CBEE40059853}" type="presParOf" srcId="{9BB4A022-7BE9-4D96-9DCD-74C58E8AC746}" destId="{0929419D-D828-4EB1-BE85-545FAC75147D}" srcOrd="1" destOrd="0" presId="urn:microsoft.com/office/officeart/2005/8/layout/list1"/>
    <dgm:cxn modelId="{DA1AFF59-F170-4FCE-8EE7-D6D80303E4DF}" type="presParOf" srcId="{9BB4A022-7BE9-4D96-9DCD-74C58E8AC746}" destId="{4FBAF1EA-119C-4A7D-BED0-7FD2E02DC8D3}" srcOrd="2" destOrd="0" presId="urn:microsoft.com/office/officeart/2005/8/layout/list1"/>
    <dgm:cxn modelId="{EB67F23E-507A-4307-BF7F-0E35B15869C5}" type="presParOf" srcId="{9BB4A022-7BE9-4D96-9DCD-74C58E8AC746}" destId="{3F047EE5-19F6-4FFB-A6EB-10F6CB893674}" srcOrd="3" destOrd="0" presId="urn:microsoft.com/office/officeart/2005/8/layout/list1"/>
    <dgm:cxn modelId="{4712EE01-3DA0-475E-BB65-3FCC96B2A7B4}" type="presParOf" srcId="{9BB4A022-7BE9-4D96-9DCD-74C58E8AC746}" destId="{BD9540F2-B1BE-4B3B-A1A2-74B6265040F7}" srcOrd="4" destOrd="0" presId="urn:microsoft.com/office/officeart/2005/8/layout/list1"/>
    <dgm:cxn modelId="{2DC3F979-3934-4628-B43E-32E90F0808CB}" type="presParOf" srcId="{BD9540F2-B1BE-4B3B-A1A2-74B6265040F7}" destId="{2CFFDFEA-2A6E-4B3D-970A-80A69C636168}" srcOrd="0" destOrd="0" presId="urn:microsoft.com/office/officeart/2005/8/layout/list1"/>
    <dgm:cxn modelId="{7A9F9EBE-9B30-4584-9A9F-C85A53241C8B}" type="presParOf" srcId="{BD9540F2-B1BE-4B3B-A1A2-74B6265040F7}" destId="{BA975037-BE6C-4B32-8DBF-C84C73617461}" srcOrd="1" destOrd="0" presId="urn:microsoft.com/office/officeart/2005/8/layout/list1"/>
    <dgm:cxn modelId="{5BA39AC9-7AF4-4D9D-B0DC-C3D0BF2B9063}" type="presParOf" srcId="{9BB4A022-7BE9-4D96-9DCD-74C58E8AC746}" destId="{7B63C310-DF5C-4B83-921A-43B067EC887A}" srcOrd="5" destOrd="0" presId="urn:microsoft.com/office/officeart/2005/8/layout/list1"/>
    <dgm:cxn modelId="{99D0C2E7-2F58-491B-9932-1E7208347D78}" type="presParOf" srcId="{9BB4A022-7BE9-4D96-9DCD-74C58E8AC746}" destId="{148A2150-C136-4328-AEF5-922C2C3CE943}" srcOrd="6" destOrd="0" presId="urn:microsoft.com/office/officeart/2005/8/layout/list1"/>
    <dgm:cxn modelId="{A829EAF8-466D-4173-B334-E2D18A1960D1}" type="presParOf" srcId="{9BB4A022-7BE9-4D96-9DCD-74C58E8AC746}" destId="{0FC8BB4E-8250-4F46-B57E-26C6F3C17C11}" srcOrd="7" destOrd="0" presId="urn:microsoft.com/office/officeart/2005/8/layout/list1"/>
    <dgm:cxn modelId="{5CCFC5FF-A669-4D34-8A47-D78D360BE0AE}" type="presParOf" srcId="{9BB4A022-7BE9-4D96-9DCD-74C58E8AC746}" destId="{730D1FBB-F471-4D30-A724-DB54D34EC6E9}" srcOrd="8" destOrd="0" presId="urn:microsoft.com/office/officeart/2005/8/layout/list1"/>
    <dgm:cxn modelId="{640232AF-BC0C-4D8E-AF83-877ACFB00229}" type="presParOf" srcId="{730D1FBB-F471-4D30-A724-DB54D34EC6E9}" destId="{858BC837-E5A9-4C97-BB1B-4A6AFF7AC6A1}" srcOrd="0" destOrd="0" presId="urn:microsoft.com/office/officeart/2005/8/layout/list1"/>
    <dgm:cxn modelId="{EA05C169-EDC6-4ABB-94E3-21A039239B8F}" type="presParOf" srcId="{730D1FBB-F471-4D30-A724-DB54D34EC6E9}" destId="{6B6A897F-5665-48D8-ACE1-FC4B644D487D}" srcOrd="1" destOrd="0" presId="urn:microsoft.com/office/officeart/2005/8/layout/list1"/>
    <dgm:cxn modelId="{0C7EABDE-FA83-4E0C-8C54-7DE7BA5FBF0D}" type="presParOf" srcId="{9BB4A022-7BE9-4D96-9DCD-74C58E8AC746}" destId="{7140714F-DE80-44C7-8816-CA26445D9ECC}" srcOrd="9" destOrd="0" presId="urn:microsoft.com/office/officeart/2005/8/layout/list1"/>
    <dgm:cxn modelId="{C791E9A1-3CAD-4C8D-85F6-CF7FD702A94C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8658C0-0088-4BC9-AFE1-A002D968D6EB}" type="presOf" srcId="{F351D095-D2C1-4F62-A18D-EFB4BA6E2AA9}" destId="{6BF66C9A-92D4-481D-A538-FD1A4E3DC0D5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D8D42E33-01A8-4245-BF0A-AFCD9A1967E2}" type="presOf" srcId="{9C869D94-BD20-4CF6-9CAA-58E706B950F6}" destId="{0AECE453-CE2A-473C-BD27-70D00DA5B95C}" srcOrd="0" destOrd="0" presId="urn:microsoft.com/office/officeart/2005/8/layout/chevron1"/>
    <dgm:cxn modelId="{7B5A3DBD-1657-4473-94E8-01CE1BBB5123}" type="presOf" srcId="{EB61DA86-9B86-4759-822E-DA32F7AA073E}" destId="{135DB1F4-89C2-4733-9521-42FD5CECF10C}" srcOrd="0" destOrd="0" presId="urn:microsoft.com/office/officeart/2005/8/layout/chevron1"/>
    <dgm:cxn modelId="{979BF138-CD81-429E-BC11-65E2BCF3173C}" type="presOf" srcId="{D14807FD-294C-4482-91EE-34C09B13669A}" destId="{BCE275B7-D1E9-4183-BABE-507E54E1C931}" srcOrd="0" destOrd="0" presId="urn:microsoft.com/office/officeart/2005/8/layout/chevron1"/>
    <dgm:cxn modelId="{97EC5132-4630-48E3-8216-3BA8EAFC1866}" type="presParOf" srcId="{0AECE453-CE2A-473C-BD27-70D00DA5B95C}" destId="{135DB1F4-89C2-4733-9521-42FD5CECF10C}" srcOrd="0" destOrd="0" presId="urn:microsoft.com/office/officeart/2005/8/layout/chevron1"/>
    <dgm:cxn modelId="{E3836271-EB47-4562-8F56-00B9D61F4074}" type="presParOf" srcId="{0AECE453-CE2A-473C-BD27-70D00DA5B95C}" destId="{E1C76734-9ABE-473C-AD4C-C4BF49F91E97}" srcOrd="1" destOrd="0" presId="urn:microsoft.com/office/officeart/2005/8/layout/chevron1"/>
    <dgm:cxn modelId="{A1672E79-D2DE-4FB9-B482-45377EDA0C13}" type="presParOf" srcId="{0AECE453-CE2A-473C-BD27-70D00DA5B95C}" destId="{6BF66C9A-92D4-481D-A538-FD1A4E3DC0D5}" srcOrd="2" destOrd="0" presId="urn:microsoft.com/office/officeart/2005/8/layout/chevron1"/>
    <dgm:cxn modelId="{6B846050-A43D-42E6-98B8-F09F770B3EC5}" type="presParOf" srcId="{0AECE453-CE2A-473C-BD27-70D00DA5B95C}" destId="{691CB221-7DD5-49BE-AC21-301798066F30}" srcOrd="3" destOrd="0" presId="urn:microsoft.com/office/officeart/2005/8/layout/chevron1"/>
    <dgm:cxn modelId="{14FBF203-E182-4DC3-8F37-46A3A2EAF3D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07000C-9F24-45B6-AE25-D54ADF954BCD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8C253FF5-4B38-46AA-9604-5740D538721B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176796C-B1D4-415E-B282-42B459D6D98E}" type="parTrans" cxnId="{DC32F464-52B9-4023-B953-D332E5528ABC}">
      <dgm:prSet/>
      <dgm:spPr/>
      <dgm:t>
        <a:bodyPr/>
        <a:lstStyle/>
        <a:p>
          <a:endParaRPr lang="de-DE"/>
        </a:p>
      </dgm:t>
    </dgm:pt>
    <dgm:pt modelId="{83C966C2-1F49-4A02-958A-D75BADCE6127}" type="sibTrans" cxnId="{DC32F464-52B9-4023-B953-D332E5528ABC}">
      <dgm:prSet/>
      <dgm:spPr/>
      <dgm:t>
        <a:bodyPr/>
        <a:lstStyle/>
        <a:p>
          <a:endParaRPr lang="de-DE"/>
        </a:p>
      </dgm:t>
    </dgm:pt>
    <dgm:pt modelId="{4025DB9A-0ED1-4F00-BB3A-1E38CF3525C6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2B16317B-03A3-4C8C-8167-4A9176602D1B}" type="parTrans" cxnId="{81C37A6B-6692-4839-AD2E-DC76588DB31E}">
      <dgm:prSet/>
      <dgm:spPr/>
      <dgm:t>
        <a:bodyPr/>
        <a:lstStyle/>
        <a:p>
          <a:endParaRPr lang="de-DE"/>
        </a:p>
      </dgm:t>
    </dgm:pt>
    <dgm:pt modelId="{EEC00F90-BA26-45CF-9A4D-29BA4DC1E56F}" type="sibTrans" cxnId="{81C37A6B-6692-4839-AD2E-DC76588DB31E}">
      <dgm:prSet/>
      <dgm:spPr/>
      <dgm:t>
        <a:bodyPr/>
        <a:lstStyle/>
        <a:p>
          <a:endParaRPr lang="de-DE"/>
        </a:p>
      </dgm:t>
    </dgm:pt>
    <dgm:pt modelId="{2145B9AC-3DB4-49BD-8B9D-67935175CE51}">
      <dgm:prSet phldrT="[Text]" custT="1"/>
      <dgm:spPr>
        <a:solidFill>
          <a:srgbClr val="E20074"/>
        </a:solidFill>
        <a:ln>
          <a:solidFill>
            <a:srgbClr val="E20074"/>
          </a:solidFill>
        </a:ln>
      </dgm:spPr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5AF7624E-F006-410E-8387-2322F4819BE9}" type="parTrans" cxnId="{08CBDDFA-CB0F-479E-8639-9E71C6ED4EB6}">
      <dgm:prSet/>
      <dgm:spPr/>
      <dgm:t>
        <a:bodyPr/>
        <a:lstStyle/>
        <a:p>
          <a:endParaRPr lang="de-DE"/>
        </a:p>
      </dgm:t>
    </dgm:pt>
    <dgm:pt modelId="{732C3D70-0401-4AC0-8D13-E0D801AF9337}" type="sibTrans" cxnId="{08CBDDFA-CB0F-479E-8639-9E71C6ED4EB6}">
      <dgm:prSet/>
      <dgm:spPr/>
      <dgm:t>
        <a:bodyPr/>
        <a:lstStyle/>
        <a:p>
          <a:endParaRPr lang="de-DE"/>
        </a:p>
      </dgm:t>
    </dgm:pt>
    <dgm:pt modelId="{69659624-A646-42E4-A835-F1EBBBD9138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22AA257-6DC5-4AB3-B210-5B9AB11D901D}" type="parTrans" cxnId="{BC9EE7AC-2BFF-468C-B806-A2C0154AD479}">
      <dgm:prSet/>
      <dgm:spPr/>
      <dgm:t>
        <a:bodyPr/>
        <a:lstStyle/>
        <a:p>
          <a:endParaRPr lang="de-DE"/>
        </a:p>
      </dgm:t>
    </dgm:pt>
    <dgm:pt modelId="{61ABA429-5EBE-4B56-9E86-5EEA1E6BA013}" type="sibTrans" cxnId="{BC9EE7AC-2BFF-468C-B806-A2C0154AD479}">
      <dgm:prSet/>
      <dgm:spPr/>
      <dgm:t>
        <a:bodyPr/>
        <a:lstStyle/>
        <a:p>
          <a:endParaRPr lang="de-DE"/>
        </a:p>
      </dgm:t>
    </dgm:pt>
    <dgm:pt modelId="{7568D8BD-3F6A-43A9-8AAE-FAA6DFA2E7E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290E2A-F8B5-4C34-A100-F18804866501}" type="parTrans" cxnId="{E1CC1B6C-C4BD-43BC-B2FF-F9339E81BB41}">
      <dgm:prSet/>
      <dgm:spPr/>
      <dgm:t>
        <a:bodyPr/>
        <a:lstStyle/>
        <a:p>
          <a:endParaRPr lang="de-DE"/>
        </a:p>
      </dgm:t>
    </dgm:pt>
    <dgm:pt modelId="{6B19B834-44A0-4DA4-8A43-77258BA6202B}" type="sibTrans" cxnId="{E1CC1B6C-C4BD-43BC-B2FF-F9339E81BB41}">
      <dgm:prSet/>
      <dgm:spPr/>
      <dgm:t>
        <a:bodyPr/>
        <a:lstStyle/>
        <a:p>
          <a:endParaRPr lang="de-DE"/>
        </a:p>
      </dgm:t>
    </dgm:pt>
    <dgm:pt modelId="{3CDAD735-0FA4-4F18-A4FF-BF26A4239D57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B59A7CB-C225-41A0-852D-9027D2632821}" type="parTrans" cxnId="{AC25ACE1-BEE4-442D-9163-F6CFBFE05AA8}">
      <dgm:prSet/>
      <dgm:spPr/>
      <dgm:t>
        <a:bodyPr/>
        <a:lstStyle/>
        <a:p>
          <a:endParaRPr lang="de-DE"/>
        </a:p>
      </dgm:t>
    </dgm:pt>
    <dgm:pt modelId="{C615F0E3-FECB-4440-8C1A-966183BEBC3A}" type="sibTrans" cxnId="{AC25ACE1-BEE4-442D-9163-F6CFBFE05AA8}">
      <dgm:prSet/>
      <dgm:spPr/>
      <dgm:t>
        <a:bodyPr/>
        <a:lstStyle/>
        <a:p>
          <a:endParaRPr lang="de-DE"/>
        </a:p>
      </dgm:t>
    </dgm:pt>
    <dgm:pt modelId="{54518278-5A2B-46A8-AB9B-56E9194056B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6AEC128-A3BB-4AF2-A70C-00BC9C06CD55}" type="parTrans" cxnId="{F116D102-0BFF-4BA9-84A7-F73DBF7242C1}">
      <dgm:prSet/>
      <dgm:spPr/>
      <dgm:t>
        <a:bodyPr/>
        <a:lstStyle/>
        <a:p>
          <a:endParaRPr lang="de-DE"/>
        </a:p>
      </dgm:t>
    </dgm:pt>
    <dgm:pt modelId="{C1146978-1D19-4267-83EE-14F049C7DC55}" type="sibTrans" cxnId="{F116D102-0BFF-4BA9-84A7-F73DBF7242C1}">
      <dgm:prSet/>
      <dgm:spPr/>
      <dgm:t>
        <a:bodyPr/>
        <a:lstStyle/>
        <a:p>
          <a:endParaRPr lang="de-DE"/>
        </a:p>
      </dgm:t>
    </dgm:pt>
    <dgm:pt modelId="{A6DD347C-12CA-48C6-9438-B357F2A1BA84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A5D3319-98A8-4A4A-AA08-8389F0C6D90E}" type="parTrans" cxnId="{9393A224-1B1A-4125-8128-C0D8DCEA7BA4}">
      <dgm:prSet/>
      <dgm:spPr/>
      <dgm:t>
        <a:bodyPr/>
        <a:lstStyle/>
        <a:p>
          <a:endParaRPr lang="de-DE"/>
        </a:p>
      </dgm:t>
    </dgm:pt>
    <dgm:pt modelId="{2F4C50C8-72B2-47C9-B2A2-D8033F70A25B}" type="sibTrans" cxnId="{9393A224-1B1A-4125-8128-C0D8DCEA7BA4}">
      <dgm:prSet/>
      <dgm:spPr/>
      <dgm:t>
        <a:bodyPr/>
        <a:lstStyle/>
        <a:p>
          <a:endParaRPr lang="de-DE"/>
        </a:p>
      </dgm:t>
    </dgm:pt>
    <dgm:pt modelId="{DC522296-EE52-4299-A763-BCD34F51752A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A52F281-4C65-4DCA-98B0-8D42F02E6060}" type="parTrans" cxnId="{BF988CC3-A510-4F7B-ADF4-BE153F9C01FA}">
      <dgm:prSet/>
      <dgm:spPr/>
      <dgm:t>
        <a:bodyPr/>
        <a:lstStyle/>
        <a:p>
          <a:endParaRPr lang="de-DE"/>
        </a:p>
      </dgm:t>
    </dgm:pt>
    <dgm:pt modelId="{CC3AD089-EB47-4F29-889D-F4B421E6D6B9}" type="sibTrans" cxnId="{BF988CC3-A510-4F7B-ADF4-BE153F9C01FA}">
      <dgm:prSet/>
      <dgm:spPr/>
      <dgm:t>
        <a:bodyPr/>
        <a:lstStyle/>
        <a:p>
          <a:endParaRPr lang="de-DE"/>
        </a:p>
      </dgm:t>
    </dgm:pt>
    <dgm:pt modelId="{601AD484-C774-4133-8EDD-E25DC144CF18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5C224E5-58D2-482D-A39C-15C9F351B628}" type="parTrans" cxnId="{FD8DB43B-71A1-48FE-961C-5CC2BC0EA0BB}">
      <dgm:prSet/>
      <dgm:spPr/>
      <dgm:t>
        <a:bodyPr/>
        <a:lstStyle/>
        <a:p>
          <a:endParaRPr lang="de-DE"/>
        </a:p>
      </dgm:t>
    </dgm:pt>
    <dgm:pt modelId="{37E19E1A-39FC-409D-BB58-1701C30A1D68}" type="sibTrans" cxnId="{FD8DB43B-71A1-48FE-961C-5CC2BC0EA0BB}">
      <dgm:prSet/>
      <dgm:spPr/>
      <dgm:t>
        <a:bodyPr/>
        <a:lstStyle/>
        <a:p>
          <a:endParaRPr lang="de-DE"/>
        </a:p>
      </dgm:t>
    </dgm:pt>
    <dgm:pt modelId="{D31ACE79-716D-4988-9827-903EFAC73783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535DD16-C669-411F-8376-728D2A09F71B}" type="parTrans" cxnId="{01CAC540-0F46-4286-924A-D1D1558C3CD2}">
      <dgm:prSet/>
      <dgm:spPr/>
      <dgm:t>
        <a:bodyPr/>
        <a:lstStyle/>
        <a:p>
          <a:endParaRPr lang="de-DE"/>
        </a:p>
      </dgm:t>
    </dgm:pt>
    <dgm:pt modelId="{63BC6B38-2710-4190-B0A4-390191A3C9E5}" type="sibTrans" cxnId="{01CAC540-0F46-4286-924A-D1D1558C3CD2}">
      <dgm:prSet/>
      <dgm:spPr/>
      <dgm:t>
        <a:bodyPr/>
        <a:lstStyle/>
        <a:p>
          <a:endParaRPr lang="de-DE"/>
        </a:p>
      </dgm:t>
    </dgm:pt>
    <dgm:pt modelId="{F2B4C515-55AA-47D4-9B31-B9AE1EADBD52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136CB7E-035D-4048-AD76-DF892C218090}" type="parTrans" cxnId="{9AD25934-911C-4D00-930B-838BC7242672}">
      <dgm:prSet/>
      <dgm:spPr/>
      <dgm:t>
        <a:bodyPr/>
        <a:lstStyle/>
        <a:p>
          <a:endParaRPr lang="de-DE"/>
        </a:p>
      </dgm:t>
    </dgm:pt>
    <dgm:pt modelId="{51D8411A-C0F1-4EB5-A121-0E0D6F31AECB}" type="sibTrans" cxnId="{9AD25934-911C-4D00-930B-838BC7242672}">
      <dgm:prSet/>
      <dgm:spPr/>
      <dgm:t>
        <a:bodyPr/>
        <a:lstStyle/>
        <a:p>
          <a:endParaRPr lang="de-DE"/>
        </a:p>
      </dgm:t>
    </dgm:pt>
    <dgm:pt modelId="{9BB4A022-7BE9-4D96-9DCD-74C58E8AC746}" type="pres">
      <dgm:prSet presAssocID="{3C07000C-9F24-45B6-AE25-D54ADF954B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4F8A8D-5B2A-4C46-8AEB-8645900EAAFC}" type="pres">
      <dgm:prSet presAssocID="{8C253FF5-4B38-46AA-9604-5740D538721B}" presName="parentLin" presStyleCnt="0"/>
      <dgm:spPr/>
    </dgm:pt>
    <dgm:pt modelId="{0C7FECAC-14A2-4CFA-A84E-D34ECF27687B}" type="pres">
      <dgm:prSet presAssocID="{8C253FF5-4B38-46AA-9604-5740D538721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36EDF564-50E4-47F9-8DB5-BE5E735EFF0D}" type="pres">
      <dgm:prSet presAssocID="{8C253FF5-4B38-46AA-9604-5740D538721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9419D-D828-4EB1-BE85-545FAC75147D}" type="pres">
      <dgm:prSet presAssocID="{8C253FF5-4B38-46AA-9604-5740D538721B}" presName="negativeSpace" presStyleCnt="0"/>
      <dgm:spPr/>
    </dgm:pt>
    <dgm:pt modelId="{4FBAF1EA-119C-4A7D-BED0-7FD2E02DC8D3}" type="pres">
      <dgm:prSet presAssocID="{8C253FF5-4B38-46AA-9604-5740D538721B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047EE5-19F6-4FFB-A6EB-10F6CB893674}" type="pres">
      <dgm:prSet presAssocID="{83C966C2-1F49-4A02-958A-D75BADCE6127}" presName="spaceBetweenRectangles" presStyleCnt="0"/>
      <dgm:spPr/>
    </dgm:pt>
    <dgm:pt modelId="{BD9540F2-B1BE-4B3B-A1A2-74B6265040F7}" type="pres">
      <dgm:prSet presAssocID="{4025DB9A-0ED1-4F00-BB3A-1E38CF3525C6}" presName="parentLin" presStyleCnt="0"/>
      <dgm:spPr/>
    </dgm:pt>
    <dgm:pt modelId="{2CFFDFEA-2A6E-4B3D-970A-80A69C636168}" type="pres">
      <dgm:prSet presAssocID="{4025DB9A-0ED1-4F00-BB3A-1E38CF3525C6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BA975037-BE6C-4B32-8DBF-C84C73617461}" type="pres">
      <dgm:prSet presAssocID="{4025DB9A-0ED1-4F00-BB3A-1E38CF3525C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63C310-DF5C-4B83-921A-43B067EC887A}" type="pres">
      <dgm:prSet presAssocID="{4025DB9A-0ED1-4F00-BB3A-1E38CF3525C6}" presName="negativeSpace" presStyleCnt="0"/>
      <dgm:spPr/>
    </dgm:pt>
    <dgm:pt modelId="{148A2150-C136-4328-AEF5-922C2C3CE943}" type="pres">
      <dgm:prSet presAssocID="{4025DB9A-0ED1-4F00-BB3A-1E38CF3525C6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FC8BB4E-8250-4F46-B57E-26C6F3C17C11}" type="pres">
      <dgm:prSet presAssocID="{EEC00F90-BA26-45CF-9A4D-29BA4DC1E56F}" presName="spaceBetweenRectangles" presStyleCnt="0"/>
      <dgm:spPr/>
    </dgm:pt>
    <dgm:pt modelId="{730D1FBB-F471-4D30-A724-DB54D34EC6E9}" type="pres">
      <dgm:prSet presAssocID="{2145B9AC-3DB4-49BD-8B9D-67935175CE51}" presName="parentLin" presStyleCnt="0"/>
      <dgm:spPr/>
    </dgm:pt>
    <dgm:pt modelId="{858BC837-E5A9-4C97-BB1B-4A6AFF7AC6A1}" type="pres">
      <dgm:prSet presAssocID="{2145B9AC-3DB4-49BD-8B9D-67935175CE51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6B6A897F-5665-48D8-ACE1-FC4B644D487D}" type="pres">
      <dgm:prSet presAssocID="{2145B9AC-3DB4-49BD-8B9D-67935175CE5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0714F-DE80-44C7-8816-CA26445D9ECC}" type="pres">
      <dgm:prSet presAssocID="{2145B9AC-3DB4-49BD-8B9D-67935175CE51}" presName="negativeSpace" presStyleCnt="0"/>
      <dgm:spPr/>
    </dgm:pt>
    <dgm:pt modelId="{1D380A2A-1436-4BC6-9682-4A6F1756B36A}" type="pres">
      <dgm:prSet presAssocID="{2145B9AC-3DB4-49BD-8B9D-67935175CE51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F5060FF-A085-4BBF-84B3-029E868315D5}" type="presOf" srcId="{8C253FF5-4B38-46AA-9604-5740D538721B}" destId="{36EDF564-50E4-47F9-8DB5-BE5E735EFF0D}" srcOrd="1" destOrd="0" presId="urn:microsoft.com/office/officeart/2005/8/layout/list1"/>
    <dgm:cxn modelId="{DB271FA4-D644-45FD-A769-3448F4BB7CA8}" type="presOf" srcId="{3CDAD735-0FA4-4F18-A4FF-BF26A4239D57}" destId="{4FBAF1EA-119C-4A7D-BED0-7FD2E02DC8D3}" srcOrd="0" destOrd="2" presId="urn:microsoft.com/office/officeart/2005/8/layout/list1"/>
    <dgm:cxn modelId="{BF988CC3-A510-4F7B-ADF4-BE153F9C01FA}" srcId="{4025DB9A-0ED1-4F00-BB3A-1E38CF3525C6}" destId="{DC522296-EE52-4299-A763-BCD34F51752A}" srcOrd="2" destOrd="0" parTransId="{FA52F281-4C65-4DCA-98B0-8D42F02E6060}" sibTransId="{CC3AD089-EB47-4F29-889D-F4B421E6D6B9}"/>
    <dgm:cxn modelId="{84AFFE77-146D-4310-A514-99DEA2F02870}" type="presOf" srcId="{69659624-A646-42E4-A835-F1EBBBD9138B}" destId="{4FBAF1EA-119C-4A7D-BED0-7FD2E02DC8D3}" srcOrd="0" destOrd="0" presId="urn:microsoft.com/office/officeart/2005/8/layout/list1"/>
    <dgm:cxn modelId="{CCB41DE2-5445-43A3-A517-BE941B86529C}" type="presOf" srcId="{8C253FF5-4B38-46AA-9604-5740D538721B}" destId="{0C7FECAC-14A2-4CFA-A84E-D34ECF27687B}" srcOrd="0" destOrd="0" presId="urn:microsoft.com/office/officeart/2005/8/layout/list1"/>
    <dgm:cxn modelId="{08CBDDFA-CB0F-479E-8639-9E71C6ED4EB6}" srcId="{3C07000C-9F24-45B6-AE25-D54ADF954BCD}" destId="{2145B9AC-3DB4-49BD-8B9D-67935175CE51}" srcOrd="2" destOrd="0" parTransId="{5AF7624E-F006-410E-8387-2322F4819BE9}" sibTransId="{732C3D70-0401-4AC0-8D13-E0D801AF9337}"/>
    <dgm:cxn modelId="{BC9EE7AC-2BFF-468C-B806-A2C0154AD479}" srcId="{8C253FF5-4B38-46AA-9604-5740D538721B}" destId="{69659624-A646-42E4-A835-F1EBBBD9138B}" srcOrd="0" destOrd="0" parTransId="{A22AA257-6DC5-4AB3-B210-5B9AB11D901D}" sibTransId="{61ABA429-5EBE-4B56-9E86-5EEA1E6BA013}"/>
    <dgm:cxn modelId="{9AD25934-911C-4D00-930B-838BC7242672}" srcId="{2145B9AC-3DB4-49BD-8B9D-67935175CE51}" destId="{F2B4C515-55AA-47D4-9B31-B9AE1EADBD52}" srcOrd="2" destOrd="0" parTransId="{2136CB7E-035D-4048-AD76-DF892C218090}" sibTransId="{51D8411A-C0F1-4EB5-A121-0E0D6F31AECB}"/>
    <dgm:cxn modelId="{63CD7623-A9C5-445F-BDB7-CEB577F71604}" type="presOf" srcId="{3C07000C-9F24-45B6-AE25-D54ADF954BCD}" destId="{9BB4A022-7BE9-4D96-9DCD-74C58E8AC746}" srcOrd="0" destOrd="0" presId="urn:microsoft.com/office/officeart/2005/8/layout/list1"/>
    <dgm:cxn modelId="{83EA420E-4851-4A18-90BA-E073B02FB75B}" type="presOf" srcId="{54518278-5A2B-46A8-AB9B-56E9194056B6}" destId="{148A2150-C136-4328-AEF5-922C2C3CE943}" srcOrd="0" destOrd="0" presId="urn:microsoft.com/office/officeart/2005/8/layout/list1"/>
    <dgm:cxn modelId="{9393A224-1B1A-4125-8128-C0D8DCEA7BA4}" srcId="{4025DB9A-0ED1-4F00-BB3A-1E38CF3525C6}" destId="{A6DD347C-12CA-48C6-9438-B357F2A1BA84}" srcOrd="1" destOrd="0" parTransId="{8A5D3319-98A8-4A4A-AA08-8389F0C6D90E}" sibTransId="{2F4C50C8-72B2-47C9-B2A2-D8033F70A25B}"/>
    <dgm:cxn modelId="{4B512BF6-472B-4A3F-A7A2-1CA0C38C387E}" type="presOf" srcId="{D31ACE79-716D-4988-9827-903EFAC73783}" destId="{1D380A2A-1436-4BC6-9682-4A6F1756B36A}" srcOrd="0" destOrd="1" presId="urn:microsoft.com/office/officeart/2005/8/layout/list1"/>
    <dgm:cxn modelId="{81C37A6B-6692-4839-AD2E-DC76588DB31E}" srcId="{3C07000C-9F24-45B6-AE25-D54ADF954BCD}" destId="{4025DB9A-0ED1-4F00-BB3A-1E38CF3525C6}" srcOrd="1" destOrd="0" parTransId="{2B16317B-03A3-4C8C-8167-4A9176602D1B}" sibTransId="{EEC00F90-BA26-45CF-9A4D-29BA4DC1E56F}"/>
    <dgm:cxn modelId="{C826D610-94D3-446B-AFC3-7B0296A1193E}" type="presOf" srcId="{4025DB9A-0ED1-4F00-BB3A-1E38CF3525C6}" destId="{2CFFDFEA-2A6E-4B3D-970A-80A69C636168}" srcOrd="0" destOrd="0" presId="urn:microsoft.com/office/officeart/2005/8/layout/list1"/>
    <dgm:cxn modelId="{1CFF7C5B-8564-4BE3-8167-26316980E42E}" type="presOf" srcId="{A6DD347C-12CA-48C6-9438-B357F2A1BA84}" destId="{148A2150-C136-4328-AEF5-922C2C3CE943}" srcOrd="0" destOrd="1" presId="urn:microsoft.com/office/officeart/2005/8/layout/list1"/>
    <dgm:cxn modelId="{4B497E8C-BEC7-44BB-843B-1EF1CBDA7CE4}" type="presOf" srcId="{2145B9AC-3DB4-49BD-8B9D-67935175CE51}" destId="{858BC837-E5A9-4C97-BB1B-4A6AFF7AC6A1}" srcOrd="0" destOrd="0" presId="urn:microsoft.com/office/officeart/2005/8/layout/list1"/>
    <dgm:cxn modelId="{B92A6227-4CEB-42B6-8D6D-440A5FFAEF2E}" type="presOf" srcId="{2145B9AC-3DB4-49BD-8B9D-67935175CE51}" destId="{6B6A897F-5665-48D8-ACE1-FC4B644D487D}" srcOrd="1" destOrd="0" presId="urn:microsoft.com/office/officeart/2005/8/layout/list1"/>
    <dgm:cxn modelId="{758A4C6F-E26A-4E19-A9C5-3F453C1FD621}" type="presOf" srcId="{4025DB9A-0ED1-4F00-BB3A-1E38CF3525C6}" destId="{BA975037-BE6C-4B32-8DBF-C84C73617461}" srcOrd="1" destOrd="0" presId="urn:microsoft.com/office/officeart/2005/8/layout/list1"/>
    <dgm:cxn modelId="{283D4722-9099-4AA5-A129-3EAFB2CD708B}" type="presOf" srcId="{DC522296-EE52-4299-A763-BCD34F51752A}" destId="{148A2150-C136-4328-AEF5-922C2C3CE943}" srcOrd="0" destOrd="2" presId="urn:microsoft.com/office/officeart/2005/8/layout/list1"/>
    <dgm:cxn modelId="{E1CC1B6C-C4BD-43BC-B2FF-F9339E81BB41}" srcId="{8C253FF5-4B38-46AA-9604-5740D538721B}" destId="{7568D8BD-3F6A-43A9-8AAE-FAA6DFA2E7E3}" srcOrd="1" destOrd="0" parTransId="{A3290E2A-F8B5-4C34-A100-F18804866501}" sibTransId="{6B19B834-44A0-4DA4-8A43-77258BA6202B}"/>
    <dgm:cxn modelId="{649E4E08-BE4A-48E5-9120-D55A2E9FDE0C}" type="presOf" srcId="{601AD484-C774-4133-8EDD-E25DC144CF18}" destId="{1D380A2A-1436-4BC6-9682-4A6F1756B36A}" srcOrd="0" destOrd="0" presId="urn:microsoft.com/office/officeart/2005/8/layout/list1"/>
    <dgm:cxn modelId="{01CAC540-0F46-4286-924A-D1D1558C3CD2}" srcId="{2145B9AC-3DB4-49BD-8B9D-67935175CE51}" destId="{D31ACE79-716D-4988-9827-903EFAC73783}" srcOrd="1" destOrd="0" parTransId="{6535DD16-C669-411F-8376-728D2A09F71B}" sibTransId="{63BC6B38-2710-4190-B0A4-390191A3C9E5}"/>
    <dgm:cxn modelId="{F116D102-0BFF-4BA9-84A7-F73DBF7242C1}" srcId="{4025DB9A-0ED1-4F00-BB3A-1E38CF3525C6}" destId="{54518278-5A2B-46A8-AB9B-56E9194056B6}" srcOrd="0" destOrd="0" parTransId="{C6AEC128-A3BB-4AF2-A70C-00BC9C06CD55}" sibTransId="{C1146978-1D19-4267-83EE-14F049C7DC55}"/>
    <dgm:cxn modelId="{DC32F464-52B9-4023-B953-D332E5528ABC}" srcId="{3C07000C-9F24-45B6-AE25-D54ADF954BCD}" destId="{8C253FF5-4B38-46AA-9604-5740D538721B}" srcOrd="0" destOrd="0" parTransId="{6176796C-B1D4-415E-B282-42B459D6D98E}" sibTransId="{83C966C2-1F49-4A02-958A-D75BADCE6127}"/>
    <dgm:cxn modelId="{AFF1A045-0D05-46D1-8C49-1D3E6D25A887}" type="presOf" srcId="{7568D8BD-3F6A-43A9-8AAE-FAA6DFA2E7E3}" destId="{4FBAF1EA-119C-4A7D-BED0-7FD2E02DC8D3}" srcOrd="0" destOrd="1" presId="urn:microsoft.com/office/officeart/2005/8/layout/list1"/>
    <dgm:cxn modelId="{AC25ACE1-BEE4-442D-9163-F6CFBFE05AA8}" srcId="{8C253FF5-4B38-46AA-9604-5740D538721B}" destId="{3CDAD735-0FA4-4F18-A4FF-BF26A4239D57}" srcOrd="2" destOrd="0" parTransId="{FB59A7CB-C225-41A0-852D-9027D2632821}" sibTransId="{C615F0E3-FECB-4440-8C1A-966183BEBC3A}"/>
    <dgm:cxn modelId="{28E7E9A8-26C3-4136-A0B0-35B127C7A783}" type="presOf" srcId="{F2B4C515-55AA-47D4-9B31-B9AE1EADBD52}" destId="{1D380A2A-1436-4BC6-9682-4A6F1756B36A}" srcOrd="0" destOrd="2" presId="urn:microsoft.com/office/officeart/2005/8/layout/list1"/>
    <dgm:cxn modelId="{FD8DB43B-71A1-48FE-961C-5CC2BC0EA0BB}" srcId="{2145B9AC-3DB4-49BD-8B9D-67935175CE51}" destId="{601AD484-C774-4133-8EDD-E25DC144CF18}" srcOrd="0" destOrd="0" parTransId="{85C224E5-58D2-482D-A39C-15C9F351B628}" sibTransId="{37E19E1A-39FC-409D-BB58-1701C30A1D68}"/>
    <dgm:cxn modelId="{89CF9556-AB33-43ED-9FB6-79DABD871D5E}" type="presParOf" srcId="{9BB4A022-7BE9-4D96-9DCD-74C58E8AC746}" destId="{214F8A8D-5B2A-4C46-8AEB-8645900EAAFC}" srcOrd="0" destOrd="0" presId="urn:microsoft.com/office/officeart/2005/8/layout/list1"/>
    <dgm:cxn modelId="{8E023162-E7CE-417C-BA5D-C9099E80BACA}" type="presParOf" srcId="{214F8A8D-5B2A-4C46-8AEB-8645900EAAFC}" destId="{0C7FECAC-14A2-4CFA-A84E-D34ECF27687B}" srcOrd="0" destOrd="0" presId="urn:microsoft.com/office/officeart/2005/8/layout/list1"/>
    <dgm:cxn modelId="{82610D2E-A44E-46E9-8E4B-316D1C6D79F8}" type="presParOf" srcId="{214F8A8D-5B2A-4C46-8AEB-8645900EAAFC}" destId="{36EDF564-50E4-47F9-8DB5-BE5E735EFF0D}" srcOrd="1" destOrd="0" presId="urn:microsoft.com/office/officeart/2005/8/layout/list1"/>
    <dgm:cxn modelId="{6D0D4801-A64B-4C44-993A-B34339303373}" type="presParOf" srcId="{9BB4A022-7BE9-4D96-9DCD-74C58E8AC746}" destId="{0929419D-D828-4EB1-BE85-545FAC75147D}" srcOrd="1" destOrd="0" presId="urn:microsoft.com/office/officeart/2005/8/layout/list1"/>
    <dgm:cxn modelId="{A829EAA3-A58E-43AD-8718-11CF8952F047}" type="presParOf" srcId="{9BB4A022-7BE9-4D96-9DCD-74C58E8AC746}" destId="{4FBAF1EA-119C-4A7D-BED0-7FD2E02DC8D3}" srcOrd="2" destOrd="0" presId="urn:microsoft.com/office/officeart/2005/8/layout/list1"/>
    <dgm:cxn modelId="{CEB64A20-D255-4909-953B-5538D3A34F4D}" type="presParOf" srcId="{9BB4A022-7BE9-4D96-9DCD-74C58E8AC746}" destId="{3F047EE5-19F6-4FFB-A6EB-10F6CB893674}" srcOrd="3" destOrd="0" presId="urn:microsoft.com/office/officeart/2005/8/layout/list1"/>
    <dgm:cxn modelId="{0DF2EDC6-E7EC-46A7-91CF-5E4388EFBEA0}" type="presParOf" srcId="{9BB4A022-7BE9-4D96-9DCD-74C58E8AC746}" destId="{BD9540F2-B1BE-4B3B-A1A2-74B6265040F7}" srcOrd="4" destOrd="0" presId="urn:microsoft.com/office/officeart/2005/8/layout/list1"/>
    <dgm:cxn modelId="{207183DA-2F3F-45FD-ABDD-EC186BEB31DB}" type="presParOf" srcId="{BD9540F2-B1BE-4B3B-A1A2-74B6265040F7}" destId="{2CFFDFEA-2A6E-4B3D-970A-80A69C636168}" srcOrd="0" destOrd="0" presId="urn:microsoft.com/office/officeart/2005/8/layout/list1"/>
    <dgm:cxn modelId="{20CA9236-59B6-442B-8522-696BE73FB5C8}" type="presParOf" srcId="{BD9540F2-B1BE-4B3B-A1A2-74B6265040F7}" destId="{BA975037-BE6C-4B32-8DBF-C84C73617461}" srcOrd="1" destOrd="0" presId="urn:microsoft.com/office/officeart/2005/8/layout/list1"/>
    <dgm:cxn modelId="{DC0F41B3-5768-4C78-BA48-CCF23BA6C0B4}" type="presParOf" srcId="{9BB4A022-7BE9-4D96-9DCD-74C58E8AC746}" destId="{7B63C310-DF5C-4B83-921A-43B067EC887A}" srcOrd="5" destOrd="0" presId="urn:microsoft.com/office/officeart/2005/8/layout/list1"/>
    <dgm:cxn modelId="{F28433E0-9241-4F83-BAB5-77F4596D015D}" type="presParOf" srcId="{9BB4A022-7BE9-4D96-9DCD-74C58E8AC746}" destId="{148A2150-C136-4328-AEF5-922C2C3CE943}" srcOrd="6" destOrd="0" presId="urn:microsoft.com/office/officeart/2005/8/layout/list1"/>
    <dgm:cxn modelId="{1A04BCC7-2F14-41F9-B733-269A11D20C8C}" type="presParOf" srcId="{9BB4A022-7BE9-4D96-9DCD-74C58E8AC746}" destId="{0FC8BB4E-8250-4F46-B57E-26C6F3C17C11}" srcOrd="7" destOrd="0" presId="urn:microsoft.com/office/officeart/2005/8/layout/list1"/>
    <dgm:cxn modelId="{0E4D2218-8465-4DD7-9B38-8B95D2595366}" type="presParOf" srcId="{9BB4A022-7BE9-4D96-9DCD-74C58E8AC746}" destId="{730D1FBB-F471-4D30-A724-DB54D34EC6E9}" srcOrd="8" destOrd="0" presId="urn:microsoft.com/office/officeart/2005/8/layout/list1"/>
    <dgm:cxn modelId="{E0E65477-8BC5-4022-A13D-D739CF9DA4F3}" type="presParOf" srcId="{730D1FBB-F471-4D30-A724-DB54D34EC6E9}" destId="{858BC837-E5A9-4C97-BB1B-4A6AFF7AC6A1}" srcOrd="0" destOrd="0" presId="urn:microsoft.com/office/officeart/2005/8/layout/list1"/>
    <dgm:cxn modelId="{E85FBC13-075C-4250-95C9-E05B54147161}" type="presParOf" srcId="{730D1FBB-F471-4D30-A724-DB54D34EC6E9}" destId="{6B6A897F-5665-48D8-ACE1-FC4B644D487D}" srcOrd="1" destOrd="0" presId="urn:microsoft.com/office/officeart/2005/8/layout/list1"/>
    <dgm:cxn modelId="{67216120-2B5D-4B0E-A77F-14C3D7264E67}" type="presParOf" srcId="{9BB4A022-7BE9-4D96-9DCD-74C58E8AC746}" destId="{7140714F-DE80-44C7-8816-CA26445D9ECC}" srcOrd="9" destOrd="0" presId="urn:microsoft.com/office/officeart/2005/8/layout/list1"/>
    <dgm:cxn modelId="{CB65F85E-5AA5-4BBE-A5A4-99E5CFC40C7B}" type="presParOf" srcId="{9BB4A022-7BE9-4D96-9DCD-74C58E8AC746}" destId="{1D380A2A-1436-4BC6-9682-4A6F1756B36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739BD87-E993-49B9-8398-DBB23C4BC4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01BAB718-6316-4A0A-8D0F-6A7D24196C6B}" type="presOf" srcId="{EB61DA86-9B86-4759-822E-DA32F7AA073E}" destId="{135DB1F4-89C2-4733-9521-42FD5CECF10C}" srcOrd="0" destOrd="0" presId="urn:microsoft.com/office/officeart/2005/8/layout/chevron1"/>
    <dgm:cxn modelId="{F5F8A065-BD08-4CD6-84EC-56C63C074473}" type="presOf" srcId="{F351D095-D2C1-4F62-A18D-EFB4BA6E2AA9}" destId="{6BF66C9A-92D4-481D-A538-FD1A4E3DC0D5}" srcOrd="0" destOrd="0" presId="urn:microsoft.com/office/officeart/2005/8/layout/chevron1"/>
    <dgm:cxn modelId="{CE66527F-4565-4E73-A10F-7F8993C11D64}" type="presOf" srcId="{D14807FD-294C-4482-91EE-34C09B13669A}" destId="{BCE275B7-D1E9-4183-BABE-507E54E1C931}" srcOrd="0" destOrd="0" presId="urn:microsoft.com/office/officeart/2005/8/layout/chevron1"/>
    <dgm:cxn modelId="{4CE4B516-C657-4B5A-B876-C382E59B5918}" type="presParOf" srcId="{0AECE453-CE2A-473C-BD27-70D00DA5B95C}" destId="{135DB1F4-89C2-4733-9521-42FD5CECF10C}" srcOrd="0" destOrd="0" presId="urn:microsoft.com/office/officeart/2005/8/layout/chevron1"/>
    <dgm:cxn modelId="{BD3A0C2F-1886-47B1-86C0-9226524D6999}" type="presParOf" srcId="{0AECE453-CE2A-473C-BD27-70D00DA5B95C}" destId="{E1C76734-9ABE-473C-AD4C-C4BF49F91E97}" srcOrd="1" destOrd="0" presId="urn:microsoft.com/office/officeart/2005/8/layout/chevron1"/>
    <dgm:cxn modelId="{2FBD0833-1CF5-4FFB-A3FC-A1B8D970C49E}" type="presParOf" srcId="{0AECE453-CE2A-473C-BD27-70D00DA5B95C}" destId="{6BF66C9A-92D4-481D-A538-FD1A4E3DC0D5}" srcOrd="2" destOrd="0" presId="urn:microsoft.com/office/officeart/2005/8/layout/chevron1"/>
    <dgm:cxn modelId="{EED5E8B9-3E9A-4D2F-8F95-F83028EBCB62}" type="presParOf" srcId="{0AECE453-CE2A-473C-BD27-70D00DA5B95C}" destId="{691CB221-7DD5-49BE-AC21-301798066F30}" srcOrd="3" destOrd="0" presId="urn:microsoft.com/office/officeart/2005/8/layout/chevron1"/>
    <dgm:cxn modelId="{1D5078DA-80C8-43A2-89E7-BF8F197BF671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C869D94-BD20-4CF6-9CAA-58E706B950F6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de-DE"/>
        </a:p>
      </dgm:t>
    </dgm:pt>
    <dgm:pt modelId="{EB61DA86-9B86-4759-822E-DA32F7AA073E}">
      <dgm:prSet phldrT="[Text]" custT="1"/>
      <dgm:spPr>
        <a:solidFill>
          <a:schemeClr val="tx2"/>
        </a:solidFill>
      </dgm:spPr>
      <dgm:t>
        <a:bodyPr/>
        <a:lstStyle/>
        <a:p>
          <a:r>
            <a:rPr lang="de-DE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D159D60-7528-492B-955B-C8C9096FB77E}" type="parTrans" cxnId="{80707D1B-BCB1-4D3D-BC59-A6100AB6415B}">
      <dgm:prSet/>
      <dgm:spPr/>
      <dgm:t>
        <a:bodyPr/>
        <a:lstStyle/>
        <a:p>
          <a:endParaRPr lang="de-DE"/>
        </a:p>
      </dgm:t>
    </dgm:pt>
    <dgm:pt modelId="{A4AEB543-5E62-4118-86E9-C4FE69DC9139}" type="sibTrans" cxnId="{80707D1B-BCB1-4D3D-BC59-A6100AB6415B}">
      <dgm:prSet/>
      <dgm:spPr/>
      <dgm:t>
        <a:bodyPr/>
        <a:lstStyle/>
        <a:p>
          <a:endParaRPr lang="de-DE"/>
        </a:p>
      </dgm:t>
    </dgm:pt>
    <dgm:pt modelId="{F351D095-D2C1-4F62-A18D-EFB4BA6E2AA9}">
      <dgm:prSet phldrT="[Text]" custT="1"/>
      <dgm:spPr/>
      <dgm:t>
        <a:bodyPr/>
        <a:lstStyle/>
        <a:p>
          <a:pPr algn="ctr"/>
          <a:r>
            <a:rPr lang="de-DE" sz="11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dirty="0">
            <a:latin typeface="Arial" pitchFamily="34" charset="0"/>
            <a:cs typeface="Arial" pitchFamily="34" charset="0"/>
          </a:endParaRPr>
        </a:p>
      </dgm:t>
    </dgm:pt>
    <dgm:pt modelId="{21CA40D9-A635-46A4-80C3-A93F16EA9C74}" type="parTrans" cxnId="{AB2E4B30-3BC3-459B-8959-97DEA0081036}">
      <dgm:prSet/>
      <dgm:spPr/>
      <dgm:t>
        <a:bodyPr/>
        <a:lstStyle/>
        <a:p>
          <a:endParaRPr lang="de-DE"/>
        </a:p>
      </dgm:t>
    </dgm:pt>
    <dgm:pt modelId="{A0C19DCA-D062-48A3-B238-CA77726B25EC}" type="sibTrans" cxnId="{AB2E4B30-3BC3-459B-8959-97DEA0081036}">
      <dgm:prSet/>
      <dgm:spPr/>
      <dgm:t>
        <a:bodyPr/>
        <a:lstStyle/>
        <a:p>
          <a:endParaRPr lang="de-DE"/>
        </a:p>
      </dgm:t>
    </dgm:pt>
    <dgm:pt modelId="{D14807FD-294C-4482-91EE-34C09B13669A}">
      <dgm:prSet phldrT="[Text]" custT="1"/>
      <dgm:spPr/>
      <dgm:t>
        <a:bodyPr/>
        <a:lstStyle/>
        <a:p>
          <a:r>
            <a:rPr lang="de-DE" sz="14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dirty="0">
            <a:latin typeface="Arial" pitchFamily="34" charset="0"/>
            <a:cs typeface="Arial" pitchFamily="34" charset="0"/>
          </a:endParaRPr>
        </a:p>
      </dgm:t>
    </dgm:pt>
    <dgm:pt modelId="{9446CA80-4B1D-4074-8D0F-A8E3A6872B47}" type="parTrans" cxnId="{F3DC454B-783B-4DAB-BFCE-3FAA2FFD0451}">
      <dgm:prSet/>
      <dgm:spPr/>
      <dgm:t>
        <a:bodyPr/>
        <a:lstStyle/>
        <a:p>
          <a:endParaRPr lang="de-DE"/>
        </a:p>
      </dgm:t>
    </dgm:pt>
    <dgm:pt modelId="{2C90D9D0-5EB6-4F04-B6EF-52E861E21225}" type="sibTrans" cxnId="{F3DC454B-783B-4DAB-BFCE-3FAA2FFD0451}">
      <dgm:prSet/>
      <dgm:spPr/>
      <dgm:t>
        <a:bodyPr/>
        <a:lstStyle/>
        <a:p>
          <a:endParaRPr lang="de-DE"/>
        </a:p>
      </dgm:t>
    </dgm:pt>
    <dgm:pt modelId="{0AECE453-CE2A-473C-BD27-70D00DA5B95C}" type="pres">
      <dgm:prSet presAssocID="{9C869D94-BD20-4CF6-9CAA-58E706B950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35DB1F4-89C2-4733-9521-42FD5CECF10C}" type="pres">
      <dgm:prSet presAssocID="{EB61DA86-9B86-4759-822E-DA32F7AA073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C76734-9ABE-473C-AD4C-C4BF49F91E97}" type="pres">
      <dgm:prSet presAssocID="{A4AEB543-5E62-4118-86E9-C4FE69DC9139}" presName="parTxOnlySpace" presStyleCnt="0"/>
      <dgm:spPr/>
      <dgm:t>
        <a:bodyPr/>
        <a:lstStyle/>
        <a:p>
          <a:endParaRPr lang="de-DE"/>
        </a:p>
      </dgm:t>
    </dgm:pt>
    <dgm:pt modelId="{6BF66C9A-92D4-481D-A538-FD1A4E3DC0D5}" type="pres">
      <dgm:prSet presAssocID="{F351D095-D2C1-4F62-A18D-EFB4BA6E2A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1CB221-7DD5-49BE-AC21-301798066F30}" type="pres">
      <dgm:prSet presAssocID="{A0C19DCA-D062-48A3-B238-CA77726B25EC}" presName="parTxOnlySpace" presStyleCnt="0"/>
      <dgm:spPr/>
      <dgm:t>
        <a:bodyPr/>
        <a:lstStyle/>
        <a:p>
          <a:endParaRPr lang="de-DE"/>
        </a:p>
      </dgm:t>
    </dgm:pt>
    <dgm:pt modelId="{BCE275B7-D1E9-4183-BABE-507E54E1C931}" type="pres">
      <dgm:prSet presAssocID="{D14807FD-294C-4482-91EE-34C09B13669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1F336D2-2A06-4215-BC14-B61D11858E22}" type="presOf" srcId="{EB61DA86-9B86-4759-822E-DA32F7AA073E}" destId="{135DB1F4-89C2-4733-9521-42FD5CECF10C}" srcOrd="0" destOrd="0" presId="urn:microsoft.com/office/officeart/2005/8/layout/chevron1"/>
    <dgm:cxn modelId="{C861EACC-096C-4487-982B-7E624DBA675A}" type="presOf" srcId="{9C869D94-BD20-4CF6-9CAA-58E706B950F6}" destId="{0AECE453-CE2A-473C-BD27-70D00DA5B95C}" srcOrd="0" destOrd="0" presId="urn:microsoft.com/office/officeart/2005/8/layout/chevron1"/>
    <dgm:cxn modelId="{80707D1B-BCB1-4D3D-BC59-A6100AB6415B}" srcId="{9C869D94-BD20-4CF6-9CAA-58E706B950F6}" destId="{EB61DA86-9B86-4759-822E-DA32F7AA073E}" srcOrd="0" destOrd="0" parTransId="{4D159D60-7528-492B-955B-C8C9096FB77E}" sibTransId="{A4AEB543-5E62-4118-86E9-C4FE69DC9139}"/>
    <dgm:cxn modelId="{F6E3C397-BC8D-4D59-BF11-91E3118A243C}" type="presOf" srcId="{D14807FD-294C-4482-91EE-34C09B13669A}" destId="{BCE275B7-D1E9-4183-BABE-507E54E1C931}" srcOrd="0" destOrd="0" presId="urn:microsoft.com/office/officeart/2005/8/layout/chevron1"/>
    <dgm:cxn modelId="{F3DC454B-783B-4DAB-BFCE-3FAA2FFD0451}" srcId="{9C869D94-BD20-4CF6-9CAA-58E706B950F6}" destId="{D14807FD-294C-4482-91EE-34C09B13669A}" srcOrd="2" destOrd="0" parTransId="{9446CA80-4B1D-4074-8D0F-A8E3A6872B47}" sibTransId="{2C90D9D0-5EB6-4F04-B6EF-52E861E21225}"/>
    <dgm:cxn modelId="{AB2E4B30-3BC3-459B-8959-97DEA0081036}" srcId="{9C869D94-BD20-4CF6-9CAA-58E706B950F6}" destId="{F351D095-D2C1-4F62-A18D-EFB4BA6E2AA9}" srcOrd="1" destOrd="0" parTransId="{21CA40D9-A635-46A4-80C3-A93F16EA9C74}" sibTransId="{A0C19DCA-D062-48A3-B238-CA77726B25EC}"/>
    <dgm:cxn modelId="{C15C2D4C-2BFB-4341-B556-95EAE671BDB7}" type="presOf" srcId="{F351D095-D2C1-4F62-A18D-EFB4BA6E2AA9}" destId="{6BF66C9A-92D4-481D-A538-FD1A4E3DC0D5}" srcOrd="0" destOrd="0" presId="urn:microsoft.com/office/officeart/2005/8/layout/chevron1"/>
    <dgm:cxn modelId="{84DF0FB5-74E2-41E8-BB3B-41B4626C0248}" type="presParOf" srcId="{0AECE453-CE2A-473C-BD27-70D00DA5B95C}" destId="{135DB1F4-89C2-4733-9521-42FD5CECF10C}" srcOrd="0" destOrd="0" presId="urn:microsoft.com/office/officeart/2005/8/layout/chevron1"/>
    <dgm:cxn modelId="{2F5C50DE-8D7D-4B02-BCA5-94163BB9D36C}" type="presParOf" srcId="{0AECE453-CE2A-473C-BD27-70D00DA5B95C}" destId="{E1C76734-9ABE-473C-AD4C-C4BF49F91E97}" srcOrd="1" destOrd="0" presId="urn:microsoft.com/office/officeart/2005/8/layout/chevron1"/>
    <dgm:cxn modelId="{C8D8A29D-46D9-4C3E-B950-062587F47C99}" type="presParOf" srcId="{0AECE453-CE2A-473C-BD27-70D00DA5B95C}" destId="{6BF66C9A-92D4-481D-A538-FD1A4E3DC0D5}" srcOrd="2" destOrd="0" presId="urn:microsoft.com/office/officeart/2005/8/layout/chevron1"/>
    <dgm:cxn modelId="{14D8AB0B-D51E-49B9-B4B8-4A9120DE8EDA}" type="presParOf" srcId="{0AECE453-CE2A-473C-BD27-70D00DA5B95C}" destId="{691CB221-7DD5-49BE-AC21-301798066F30}" srcOrd="3" destOrd="0" presId="urn:microsoft.com/office/officeart/2005/8/layout/chevron1"/>
    <dgm:cxn modelId="{786FBDC5-B93E-4D1B-8C23-37A359D3FE43}" type="presParOf" srcId="{0AECE453-CE2A-473C-BD27-70D00DA5B95C}" destId="{BCE275B7-D1E9-4183-BABE-507E54E1C93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4C6030-747E-48FD-A592-CF6DDA7519A4}">
      <dsp:nvSpPr>
        <dsp:cNvPr id="0" name=""/>
        <dsp:cNvSpPr/>
      </dsp:nvSpPr>
      <dsp:spPr>
        <a:xfrm>
          <a:off x="1614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DevOps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General Informations (Tasks/Goals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614" y="1630028"/>
        <a:ext cx="1468152" cy="951435"/>
      </dsp:txXfrm>
    </dsp:sp>
    <dsp:sp modelId="{5439EF25-BEDD-4B5A-B567-E1403F8FEB8E}">
      <dsp:nvSpPr>
        <dsp:cNvPr id="0" name=""/>
        <dsp:cNvSpPr/>
      </dsp:nvSpPr>
      <dsp:spPr>
        <a:xfrm>
          <a:off x="856910" y="2027015"/>
          <a:ext cx="1458689" cy="1458689"/>
        </a:xfrm>
        <a:prstGeom prst="leftCircularArrow">
          <a:avLst>
            <a:gd name="adj1" fmla="val 2062"/>
            <a:gd name="adj2" fmla="val 247442"/>
            <a:gd name="adj3" fmla="val 2022952"/>
            <a:gd name="adj4" fmla="val 9024489"/>
            <a:gd name="adj5" fmla="val 2406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272A9-E92B-4719-96E4-A334C871DDEB}">
      <dsp:nvSpPr>
        <dsp:cNvPr id="0" name=""/>
        <dsp:cNvSpPr/>
      </dsp:nvSpPr>
      <dsp:spPr>
        <a:xfrm>
          <a:off x="327870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600" b="1" kern="1200" dirty="0">
            <a:latin typeface="Arial" pitchFamily="34" charset="0"/>
            <a:cs typeface="Arial" pitchFamily="34" charset="0"/>
          </a:endParaRPr>
        </a:p>
      </dsp:txBody>
      <dsp:txXfrm>
        <a:off x="327870" y="2581464"/>
        <a:ext cx="1305024" cy="518965"/>
      </dsp:txXfrm>
    </dsp:sp>
    <dsp:sp modelId="{7B116376-1966-411C-8846-0B561668FA8A}">
      <dsp:nvSpPr>
        <dsp:cNvPr id="0" name=""/>
        <dsp:cNvSpPr/>
      </dsp:nvSpPr>
      <dsp:spPr>
        <a:xfrm>
          <a:off x="1776151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at is it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Which Features?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How to start?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1776151" y="1889511"/>
        <a:ext cx="1468152" cy="951435"/>
      </dsp:txXfrm>
    </dsp:sp>
    <dsp:sp modelId="{6861BCAD-DE42-4BC1-ACF4-14F23BA682BF}">
      <dsp:nvSpPr>
        <dsp:cNvPr id="0" name=""/>
        <dsp:cNvSpPr/>
      </dsp:nvSpPr>
      <dsp:spPr>
        <a:xfrm>
          <a:off x="2619212" y="937791"/>
          <a:ext cx="1646286" cy="1646286"/>
        </a:xfrm>
        <a:prstGeom prst="circularArrow">
          <a:avLst>
            <a:gd name="adj1" fmla="val 1827"/>
            <a:gd name="adj2" fmla="val 218072"/>
            <a:gd name="adj3" fmla="val 19606417"/>
            <a:gd name="adj4" fmla="val 12575511"/>
            <a:gd name="adj5" fmla="val 213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97D153-61A1-4F22-9B68-9BB314807883}">
      <dsp:nvSpPr>
        <dsp:cNvPr id="0" name=""/>
        <dsp:cNvSpPr/>
      </dsp:nvSpPr>
      <dsp:spPr>
        <a:xfrm>
          <a:off x="2102407" y="1370546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>
              <a:latin typeface="Arial" pitchFamily="34" charset="0"/>
              <a:cs typeface="Arial" pitchFamily="34" charset="0"/>
            </a:rPr>
            <a:t>OpenStack</a:t>
          </a:r>
          <a:endParaRPr lang="de-DE" sz="1600" b="1" kern="1200" dirty="0">
            <a:latin typeface="Arial" pitchFamily="34" charset="0"/>
            <a:cs typeface="Arial" pitchFamily="34" charset="0"/>
          </a:endParaRPr>
        </a:p>
      </dsp:txBody>
      <dsp:txXfrm>
        <a:off x="2102407" y="1370546"/>
        <a:ext cx="1305024" cy="518965"/>
      </dsp:txXfrm>
    </dsp:sp>
    <dsp:sp modelId="{21AC5FF7-1AAA-4C2C-962E-B3C6EE613243}">
      <dsp:nvSpPr>
        <dsp:cNvPr id="0" name=""/>
        <dsp:cNvSpPr/>
      </dsp:nvSpPr>
      <dsp:spPr>
        <a:xfrm>
          <a:off x="3550688" y="1630028"/>
          <a:ext cx="1468152" cy="1210918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New Environment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What we provide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50" kern="1200" dirty="0" smtClean="0">
              <a:latin typeface="Arial" pitchFamily="34" charset="0"/>
              <a:cs typeface="Arial" pitchFamily="34" charset="0"/>
            </a:rPr>
            <a:t>Partner &amp; User Integration</a:t>
          </a:r>
          <a:endParaRPr lang="de-DE" sz="105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100" kern="1200" dirty="0"/>
        </a:p>
      </dsp:txBody>
      <dsp:txXfrm>
        <a:off x="3550688" y="1630028"/>
        <a:ext cx="1468152" cy="951435"/>
      </dsp:txXfrm>
    </dsp:sp>
    <dsp:sp modelId="{E99699DA-C282-434C-8D58-B6E86BFB4860}">
      <dsp:nvSpPr>
        <dsp:cNvPr id="0" name=""/>
        <dsp:cNvSpPr/>
      </dsp:nvSpPr>
      <dsp:spPr>
        <a:xfrm>
          <a:off x="3876944" y="2581464"/>
          <a:ext cx="1305024" cy="51896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latin typeface="Arial" pitchFamily="34" charset="0"/>
              <a:cs typeface="Arial" pitchFamily="34" charset="0"/>
            </a:rPr>
            <a:t>TelekomCLOUD</a:t>
          </a:r>
          <a:endParaRPr lang="de-DE" sz="1200" b="1" kern="1200" dirty="0">
            <a:latin typeface="Arial" pitchFamily="34" charset="0"/>
            <a:cs typeface="Arial" pitchFamily="34" charset="0"/>
          </a:endParaRPr>
        </a:p>
      </dsp:txBody>
      <dsp:txXfrm>
        <a:off x="3876944" y="2581464"/>
        <a:ext cx="1305024" cy="518965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1B5F1E-BE5B-4512-8FFD-930037772452}">
      <dsp:nvSpPr>
        <dsp:cNvPr id="0" name=""/>
        <dsp:cNvSpPr/>
      </dsp:nvSpPr>
      <dsp:spPr>
        <a:xfrm>
          <a:off x="0" y="5032"/>
          <a:ext cx="7636071" cy="360197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formation</a:t>
          </a:r>
          <a:endParaRPr lang="de-DE" sz="2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5032"/>
        <a:ext cx="7636071" cy="360197"/>
      </dsp:txXfrm>
    </dsp:sp>
    <dsp:sp modelId="{135D980B-F227-4000-9869-2D5A8FA31B13}">
      <dsp:nvSpPr>
        <dsp:cNvPr id="0" name=""/>
        <dsp:cNvSpPr/>
      </dsp:nvSpPr>
      <dsp:spPr>
        <a:xfrm>
          <a:off x="0" y="365230"/>
          <a:ext cx="7636071" cy="12057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"/>
            </a:rPr>
            <a:t>https://www.openstack.or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2"/>
            </a:rPr>
            <a:t>https://dzone.com/refcardz/getting-started-openstack-most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de-DE" sz="12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3"/>
            </a:rPr>
            <a:t>http://cloud-computing-blog.eu/was-ist-jetzt-eigentlich-cloud-computing/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 </a:t>
          </a:r>
          <a:endParaRPr lang="de-DE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200" b="1" u="sng" kern="1200" dirty="0" smtClean="0">
              <a:latin typeface="Arial" pitchFamily="34" charset="0"/>
              <a:cs typeface="Arial" pitchFamily="34" charset="0"/>
            </a:rPr>
            <a:t>Other Sources : </a:t>
          </a:r>
          <a:r>
            <a:rPr lang="de-DE" sz="1200" kern="1200" dirty="0" smtClean="0">
              <a:latin typeface="Arial" pitchFamily="34" charset="0"/>
              <a:cs typeface="Arial" pitchFamily="34" charset="0"/>
            </a:rPr>
            <a:t>AiolosSystemDescription.pdf; Telekom Small Business Cloud_Refcard for ISVs.pdf   </a:t>
          </a:r>
          <a:endParaRPr lang="de-DE" sz="1200" kern="1200" dirty="0">
            <a:latin typeface="Arial" pitchFamily="34" charset="0"/>
            <a:cs typeface="Arial" pitchFamily="34" charset="0"/>
          </a:endParaRPr>
        </a:p>
      </dsp:txBody>
      <dsp:txXfrm>
        <a:off x="0" y="365230"/>
        <a:ext cx="7636071" cy="1205711"/>
      </dsp:txXfrm>
    </dsp:sp>
    <dsp:sp modelId="{003283A4-BBAE-49F6-A32A-13D1CE661B99}">
      <dsp:nvSpPr>
        <dsp:cNvPr id="0" name=""/>
        <dsp:cNvSpPr/>
      </dsp:nvSpPr>
      <dsp:spPr>
        <a:xfrm>
          <a:off x="0" y="1570941"/>
          <a:ext cx="7636071" cy="331459"/>
        </a:xfrm>
        <a:prstGeom prst="roundRect">
          <a:avLst/>
        </a:prstGeom>
        <a:solidFill>
          <a:srgbClr val="E20074"/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ictures</a:t>
          </a:r>
          <a:endParaRPr lang="de-DE" sz="32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0" y="1570941"/>
        <a:ext cx="7636071" cy="331459"/>
      </dsp:txXfrm>
    </dsp:sp>
    <dsp:sp modelId="{BF5A6700-E73A-4C76-AB30-5E258848545C}">
      <dsp:nvSpPr>
        <dsp:cNvPr id="0" name=""/>
        <dsp:cNvSpPr/>
      </dsp:nvSpPr>
      <dsp:spPr>
        <a:xfrm>
          <a:off x="0" y="1902401"/>
          <a:ext cx="7636071" cy="1571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445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de-DE" sz="9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4"/>
            </a:rPr>
            <a:t>http://www.ofekcloud.com/media/images/1e7b5ca3-8b2e-4e2e-9898-5df978f0218aimage14.jpe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 Slide #9 CC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5"/>
            </a:rPr>
            <a:t>http://www.all-stars.de/blog/wp-content/uploads/2014/04/planung.jpg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Planning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6"/>
            </a:rPr>
            <a:t>http://www.maclife.de/ratgeber/microsoft-office-ios-jetzt-icloud-unterstuetzung-10062588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Office Tool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7"/>
            </a:rPr>
            <a:t>http://yourdost.com/blog/2016/02/how-to-become-more-creative.html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Creativ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8"/>
            </a:rPr>
            <a:t>http://webneel.com/daily/creative-drawing-jennifer-tjorvi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9 Talents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9"/>
            </a:rPr>
            <a:t>http://www.embritas.lt/project/duomenu-apdorojimo-centras/?lang=de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3 Datacenter Biere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0"/>
            </a:rPr>
            <a:t>https://www.openstack.org/brand/openstack-logo/logo-download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,#9 OpenStack Logo)</a:t>
          </a:r>
          <a:endParaRPr lang="de-DE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de-DE" sz="1100" kern="1200" dirty="0" smtClean="0">
              <a:latin typeface="Arial" pitchFamily="34" charset="0"/>
              <a:cs typeface="Arial" pitchFamily="34" charset="0"/>
              <a:hlinkClick xmlns:r="http://schemas.openxmlformats.org/officeDocument/2006/relationships" r:id="rId11"/>
            </a:rPr>
            <a:t>https://de.pinterest.com/pin/556053885218068326/</a:t>
          </a:r>
          <a:r>
            <a:rPr lang="de-DE" sz="1100" kern="1200" dirty="0" smtClean="0">
              <a:latin typeface="Arial" pitchFamily="34" charset="0"/>
              <a:cs typeface="Arial" pitchFamily="34" charset="0"/>
            </a:rPr>
            <a:t> (Slide #15 Background)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0" y="1902401"/>
        <a:ext cx="7636071" cy="1571130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5192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Frank Klök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51929"/>
        <a:ext cx="7184070" cy="683550"/>
      </dsp:txXfrm>
    </dsp:sp>
    <dsp:sp modelId="{36EDF564-50E4-47F9-8DB5-BE5E735EFF0D}">
      <dsp:nvSpPr>
        <dsp:cNvPr id="0" name=""/>
        <dsp:cNvSpPr/>
      </dsp:nvSpPr>
      <dsp:spPr>
        <a:xfrm>
          <a:off x="359203" y="4528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45289"/>
        <a:ext cx="5028849" cy="413280"/>
      </dsp:txXfrm>
    </dsp:sp>
    <dsp:sp modelId="{148A2150-C136-4328-AEF5-922C2C3CE943}">
      <dsp:nvSpPr>
        <dsp:cNvPr id="0" name=""/>
        <dsp:cNvSpPr/>
      </dsp:nvSpPr>
      <dsp:spPr>
        <a:xfrm>
          <a:off x="0" y="1217719"/>
          <a:ext cx="7184070" cy="6835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27 years of experience in Operation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0 years Examiner on Chamber of Commerce and Industry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217719"/>
        <a:ext cx="7184070" cy="683550"/>
      </dsp:txXfrm>
    </dsp:sp>
    <dsp:sp modelId="{BA975037-BE6C-4B32-8DBF-C84C73617461}">
      <dsp:nvSpPr>
        <dsp:cNvPr id="0" name=""/>
        <dsp:cNvSpPr/>
      </dsp:nvSpPr>
      <dsp:spPr>
        <a:xfrm>
          <a:off x="359203" y="101107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011079"/>
        <a:ext cx="5028849" cy="413280"/>
      </dsp:txXfrm>
    </dsp:sp>
    <dsp:sp modelId="{1D380A2A-1436-4BC6-9682-4A6F1756B36A}">
      <dsp:nvSpPr>
        <dsp:cNvPr id="0" name=""/>
        <dsp:cNvSpPr/>
      </dsp:nvSpPr>
      <dsp:spPr>
        <a:xfrm>
          <a:off x="0" y="2183509"/>
          <a:ext cx="7184070" cy="101430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91592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Applicationmanagement for Cloud hosting platform						personal point of contact for Apprent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183509"/>
        <a:ext cx="7184070" cy="1014300"/>
      </dsp:txXfrm>
    </dsp:sp>
    <dsp:sp modelId="{6B6A897F-5665-48D8-ACE1-FC4B644D487D}">
      <dsp:nvSpPr>
        <dsp:cNvPr id="0" name=""/>
        <dsp:cNvSpPr/>
      </dsp:nvSpPr>
      <dsp:spPr>
        <a:xfrm>
          <a:off x="359203" y="1976869"/>
          <a:ext cx="5028849" cy="41328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976869"/>
        <a:ext cx="5028849" cy="41328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8554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Oliver Klippel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	 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85544"/>
        <a:ext cx="7184070" cy="796950"/>
      </dsp:txXfrm>
    </dsp:sp>
    <dsp:sp modelId="{36EDF564-50E4-47F9-8DB5-BE5E735EFF0D}">
      <dsp:nvSpPr>
        <dsp:cNvPr id="0" name=""/>
        <dsp:cNvSpPr/>
      </dsp:nvSpPr>
      <dsp:spPr>
        <a:xfrm>
          <a:off x="359203" y="12318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23184"/>
        <a:ext cx="5028849" cy="324720"/>
      </dsp:txXfrm>
    </dsp:sp>
    <dsp:sp modelId="{148A2150-C136-4328-AEF5-922C2C3CE943}">
      <dsp:nvSpPr>
        <dsp:cNvPr id="0" name=""/>
        <dsp:cNvSpPr/>
      </dsp:nvSpPr>
      <dsp:spPr>
        <a:xfrm>
          <a:off x="0" y="130425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1 semester computer science &amp; 1 semester media computer science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04254"/>
        <a:ext cx="7184070" cy="796950"/>
      </dsp:txXfrm>
    </dsp:sp>
    <dsp:sp modelId="{BA975037-BE6C-4B32-8DBF-C84C73617461}">
      <dsp:nvSpPr>
        <dsp:cNvPr id="0" name=""/>
        <dsp:cNvSpPr/>
      </dsp:nvSpPr>
      <dsp:spPr>
        <a:xfrm>
          <a:off x="359203" y="114189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41894"/>
        <a:ext cx="5028849" cy="324720"/>
      </dsp:txXfrm>
    </dsp:sp>
    <dsp:sp modelId="{1D380A2A-1436-4BC6-9682-4A6F1756B36A}">
      <dsp:nvSpPr>
        <dsp:cNvPr id="0" name=""/>
        <dsp:cNvSpPr/>
      </dsp:nvSpPr>
      <dsp:spPr>
        <a:xfrm>
          <a:off x="0" y="2322964"/>
          <a:ext cx="7184070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		IT specialist for systemintegratio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	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22964"/>
        <a:ext cx="7184070" cy="796950"/>
      </dsp:txXfrm>
    </dsp:sp>
    <dsp:sp modelId="{6B6A897F-5665-48D8-ACE1-FC4B644D487D}">
      <dsp:nvSpPr>
        <dsp:cNvPr id="0" name=""/>
        <dsp:cNvSpPr/>
      </dsp:nvSpPr>
      <dsp:spPr>
        <a:xfrm>
          <a:off x="359203" y="2160604"/>
          <a:ext cx="5028849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0604"/>
        <a:ext cx="5028849" cy="3247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Janika Schäfe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1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78173" cy="796950"/>
      </dsp:txXfrm>
    </dsp:sp>
    <dsp:sp modelId="{36EDF564-50E4-47F9-8DB5-BE5E735EFF0D}">
      <dsp:nvSpPr>
        <dsp:cNvPr id="0" name=""/>
        <dsp:cNvSpPr/>
      </dsp:nvSpPr>
      <dsp:spPr>
        <a:xfrm>
          <a:off x="358908" y="13203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32033"/>
        <a:ext cx="5024721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to IT systems technicia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with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inished 2015 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78173" cy="796950"/>
      </dsp:txXfrm>
    </dsp:sp>
    <dsp:sp modelId="{BA975037-BE6C-4B32-8DBF-C84C73617461}">
      <dsp:nvSpPr>
        <dsp:cNvPr id="0" name=""/>
        <dsp:cNvSpPr/>
      </dsp:nvSpPr>
      <dsp:spPr>
        <a:xfrm>
          <a:off x="358908" y="115074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1150743"/>
        <a:ext cx="5024721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78173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106" tIns="229108" rIns="55710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ying 	 	bachelor of engineering in communication &amp; media computer science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78173" cy="796950"/>
      </dsp:txXfrm>
    </dsp:sp>
    <dsp:sp modelId="{6B6A897F-5665-48D8-ACE1-FC4B644D487D}">
      <dsp:nvSpPr>
        <dsp:cNvPr id="0" name=""/>
        <dsp:cNvSpPr/>
      </dsp:nvSpPr>
      <dsp:spPr>
        <a:xfrm>
          <a:off x="358908" y="2169453"/>
          <a:ext cx="5024721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9922" tIns="0" rIns="1899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8908" y="2169453"/>
        <a:ext cx="5024721" cy="3247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FBAF1EA-119C-4A7D-BED0-7FD2E02DC8D3}">
      <dsp:nvSpPr>
        <dsp:cNvPr id="0" name=""/>
        <dsp:cNvSpPr/>
      </dsp:nvSpPr>
      <dsp:spPr>
        <a:xfrm>
          <a:off x="0" y="29439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Name 	Adriano Perri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ge  		23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From 		Berlin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94393"/>
        <a:ext cx="7184072" cy="796950"/>
      </dsp:txXfrm>
    </dsp:sp>
    <dsp:sp modelId="{36EDF564-50E4-47F9-8DB5-BE5E735EFF0D}">
      <dsp:nvSpPr>
        <dsp:cNvPr id="0" name=""/>
        <dsp:cNvSpPr/>
      </dsp:nvSpPr>
      <dsp:spPr>
        <a:xfrm>
          <a:off x="359203" y="132032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ers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32032"/>
        <a:ext cx="5028850" cy="324720"/>
      </dsp:txXfrm>
    </dsp:sp>
    <dsp:sp modelId="{148A2150-C136-4328-AEF5-922C2C3CE943}">
      <dsp:nvSpPr>
        <dsp:cNvPr id="0" name=""/>
        <dsp:cNvSpPr/>
      </dsp:nvSpPr>
      <dsp:spPr>
        <a:xfrm>
          <a:off x="0" y="131310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bitur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studied 2 semester geoecology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Apprenticeship until 2018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1313103"/>
        <a:ext cx="7184072" cy="796950"/>
      </dsp:txXfrm>
    </dsp:sp>
    <dsp:sp modelId="{BA975037-BE6C-4B32-8DBF-C84C73617461}">
      <dsp:nvSpPr>
        <dsp:cNvPr id="0" name=""/>
        <dsp:cNvSpPr/>
      </dsp:nvSpPr>
      <dsp:spPr>
        <a:xfrm>
          <a:off x="359203" y="115074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ducation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1150743"/>
        <a:ext cx="5028850" cy="324720"/>
      </dsp:txXfrm>
    </dsp:sp>
    <dsp:sp modelId="{1D380A2A-1436-4BC6-9682-4A6F1756B36A}">
      <dsp:nvSpPr>
        <dsp:cNvPr id="0" name=""/>
        <dsp:cNvSpPr/>
      </dsp:nvSpPr>
      <dsp:spPr>
        <a:xfrm>
          <a:off x="0" y="2331813"/>
          <a:ext cx="7184072" cy="796950"/>
        </a:xfrm>
        <a:prstGeom prst="rect">
          <a:avLst/>
        </a:prstGeom>
        <a:solidFill>
          <a:schemeClr val="bg1"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7564" tIns="229108" rIns="557564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Vocation 		management assistant in IT system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ompany 		Deutsche Telekom AG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Business Unit 	Business Applications &amp; Cloud Services</a:t>
          </a:r>
          <a:endParaRPr lang="de-DE" sz="11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0" y="2331813"/>
        <a:ext cx="7184072" cy="796950"/>
      </dsp:txXfrm>
    </dsp:sp>
    <dsp:sp modelId="{6B6A897F-5665-48D8-ACE1-FC4B644D487D}">
      <dsp:nvSpPr>
        <dsp:cNvPr id="0" name=""/>
        <dsp:cNvSpPr/>
      </dsp:nvSpPr>
      <dsp:spPr>
        <a:xfrm>
          <a:off x="359203" y="2169453"/>
          <a:ext cx="5028850" cy="324720"/>
        </a:xfrm>
        <a:prstGeom prst="roundRect">
          <a:avLst/>
        </a:prstGeom>
        <a:solidFill>
          <a:srgbClr val="E20074"/>
        </a:solidFill>
        <a:ln w="25400" cap="flat" cmpd="sng" algn="ctr">
          <a:solidFill>
            <a:srgbClr val="E2007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079" tIns="0" rIns="1900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oday</a:t>
          </a:r>
          <a:endParaRPr lang="de-DE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9203" y="2169453"/>
        <a:ext cx="5028850" cy="3247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5DB1F4-89C2-4733-9521-42FD5CECF10C}">
      <dsp:nvSpPr>
        <dsp:cNvPr id="0" name=""/>
        <dsp:cNvSpPr/>
      </dsp:nvSpPr>
      <dsp:spPr>
        <a:xfrm>
          <a:off x="1978" y="0"/>
          <a:ext cx="2410025" cy="316120"/>
        </a:xfrm>
        <a:prstGeom prst="chevron">
          <a:avLst/>
        </a:prstGeom>
        <a:solidFill>
          <a:schemeClr val="tx2"/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troduction</a:t>
          </a:r>
          <a:endParaRPr lang="de-DE" sz="14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978" y="0"/>
        <a:ext cx="2410025" cy="316120"/>
      </dsp:txXfrm>
    </dsp:sp>
    <dsp:sp modelId="{6BF66C9A-92D4-481D-A538-FD1A4E3DC0D5}">
      <dsp:nvSpPr>
        <dsp:cNvPr id="0" name=""/>
        <dsp:cNvSpPr/>
      </dsp:nvSpPr>
      <dsp:spPr>
        <a:xfrm>
          <a:off x="2171000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>
              <a:latin typeface="Arial" pitchFamily="34" charset="0"/>
              <a:cs typeface="Arial" pitchFamily="34" charset="0"/>
            </a:rPr>
            <a:t>TelekomCLOUD + OpenStack</a:t>
          </a:r>
          <a:endParaRPr lang="de-DE" sz="1100" kern="1200" dirty="0">
            <a:latin typeface="Arial" pitchFamily="34" charset="0"/>
            <a:cs typeface="Arial" pitchFamily="34" charset="0"/>
          </a:endParaRPr>
        </a:p>
      </dsp:txBody>
      <dsp:txXfrm>
        <a:off x="2171000" y="0"/>
        <a:ext cx="2410025" cy="316120"/>
      </dsp:txXfrm>
    </dsp:sp>
    <dsp:sp modelId="{BCE275B7-D1E9-4183-BABE-507E54E1C931}">
      <dsp:nvSpPr>
        <dsp:cNvPr id="0" name=""/>
        <dsp:cNvSpPr/>
      </dsp:nvSpPr>
      <dsp:spPr>
        <a:xfrm>
          <a:off x="4340023" y="0"/>
          <a:ext cx="2410025" cy="31612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rial" pitchFamily="34" charset="0"/>
              <a:cs typeface="Arial" pitchFamily="34" charset="0"/>
            </a:rPr>
            <a:t>Q &amp; A</a:t>
          </a:r>
          <a:endParaRPr lang="de-DE" sz="1400" kern="1200" dirty="0">
            <a:latin typeface="Arial" pitchFamily="34" charset="0"/>
            <a:cs typeface="Arial" pitchFamily="34" charset="0"/>
          </a:endParaRPr>
        </a:p>
      </dsp:txBody>
      <dsp:txXfrm>
        <a:off x="4340023" y="0"/>
        <a:ext cx="2410025" cy="31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3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3.10.2016</a:t>
            </a:fld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dirty="0"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3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3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3.10.2016</a:t>
            </a:fld>
            <a:endParaRPr lang="de-DE" dirty="0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3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68350"/>
            <a:ext cx="6597650" cy="3711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t.mm.jjjj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5647" y="9670501"/>
            <a:ext cx="4639700" cy="314291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59233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3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B2827797-408F-4D8D-9A52-7C4043576B32}" type="datetimeFigureOut">
              <a:rPr lang="de-DE"/>
              <a:pPr/>
              <a:t>13.10.2016</a:t>
            </a:fld>
            <a:endParaRPr lang="de-DE" dirty="0"/>
          </a:p>
        </p:txBody>
      </p:sp>
      <p:sp>
        <p:nvSpPr>
          <p:cNvPr id="41574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75" y="846138"/>
            <a:ext cx="7308850" cy="4111625"/>
          </a:xfrm>
          <a:noFill/>
          <a:ln>
            <a:miter lim="800000"/>
            <a:headEnd/>
            <a:tailEnd/>
          </a:ln>
        </p:spPr>
      </p:sp>
      <p:sp>
        <p:nvSpPr>
          <p:cNvPr id="415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65150" y="5118101"/>
            <a:ext cx="5972175" cy="4741863"/>
          </a:xfrm>
          <a:noFill/>
        </p:spPr>
        <p:txBody>
          <a:bodyPr lIns="99181" tIns="49590" rIns="99181" bIns="49590"/>
          <a:lstStyle/>
          <a:p>
            <a:pPr marL="189152" indent="-189152" defTabSz="955713"/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230276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7C11697-C1D6-47D6-8DBE-3902527400F3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Autor / Thema der Prä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975100" y="9670501"/>
            <a:ext cx="1140360" cy="314291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de-DE"/>
              <a:pPr/>
              <a:t>13.10.2016</a:t>
            </a:fld>
            <a:endParaRPr lang="de-DE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6050" y="769938"/>
            <a:ext cx="6818313" cy="3835400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47739" y="4859339"/>
            <a:ext cx="5203825" cy="4605337"/>
          </a:xfrm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="" xmlns:p14="http://schemas.microsoft.com/office/powerpoint/2010/main" val="78946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7.emf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45072" name="think-cell Slide" r:id="rId7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black">
          <a:xfrm>
            <a:off x="304800" y="2757488"/>
            <a:ext cx="84963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  <p:pic>
        <p:nvPicPr>
          <p:cNvPr id="45079" name="Picture 23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/>
          <a:srcRect r="69640"/>
          <a:stretch>
            <a:fillRect/>
          </a:stretch>
        </p:blipFill>
        <p:spPr bwMode="black">
          <a:xfrm>
            <a:off x="323850" y="4602957"/>
            <a:ext cx="908050" cy="297656"/>
          </a:xfrm>
          <a:prstGeom prst="rect">
            <a:avLst/>
          </a:prstGeom>
          <a:noFill/>
        </p:spPr>
      </p:pic>
      <p:pic>
        <p:nvPicPr>
          <p:cNvPr id="45080" name="Picture 24" descr="T_Logo_3c_Slogan_n_DE_EMF CD EXPORT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/>
          <a:srcRect l="40712"/>
          <a:stretch>
            <a:fillRect/>
          </a:stretch>
        </p:blipFill>
        <p:spPr bwMode="black">
          <a:xfrm>
            <a:off x="7042150" y="4602957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329928"/>
            <a:ext cx="42005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5" y="1329928"/>
            <a:ext cx="4162425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428A85F0-2F05-4A49-9568-A870DCFFBF83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97AF7BB-8A71-4BE1-858E-F0715F15AE0B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329928"/>
            <a:ext cx="27360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329928"/>
            <a:ext cx="2028826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1E79667D-9403-4E7D-B8BF-7AD8FA3D5C06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329928"/>
            <a:ext cx="2030400" cy="32134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3890" name="think-cell Slid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329928"/>
            <a:ext cx="8496300" cy="3431381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4914" name="think-cell Slid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" y="4655343"/>
            <a:ext cx="290877" cy="3762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800" y="1329928"/>
            <a:ext cx="42005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5" y="1329928"/>
            <a:ext cx="4162425" cy="343138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97986" name="think-cell Slid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476131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00020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40" name="Datumsplatzhalter 39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1CEBC254-7842-4881-BFD6-96A5FD53D486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559"/>
            <a:ext cx="9143433" cy="5142383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2" y="1028528"/>
            <a:ext cx="8490331" cy="2035942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</a:t>
            </a: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al 3-Zeilig</a:t>
            </a:r>
            <a:b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F0CD8F-C002-44AD-9563-61226BA408F8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3FF9DF-EEDF-42AD-BDFB-DE3D95DE5D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6546" name="think-cell Slide" r:id="rId9" imgW="360" imgH="360" progId="">
              <p:embed/>
            </p:oleObj>
          </a:graphicData>
        </a:graphic>
      </p:graphicFrame>
      <p:pic>
        <p:nvPicPr>
          <p:cNvPr id="7" name="Picture 16" descr="musterbild_1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/>
          <a:srcRect b="28815"/>
          <a:stretch>
            <a:fillRect/>
          </a:stretch>
        </p:blipFill>
        <p:spPr bwMode="auto">
          <a:xfrm>
            <a:off x="319088" y="245269"/>
            <a:ext cx="8501062" cy="3025379"/>
          </a:xfrm>
          <a:prstGeom prst="rect">
            <a:avLst/>
          </a:prstGeom>
          <a:noFill/>
        </p:spPr>
      </p:pic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2"/>
          <a:srcRect r="11" b="-468"/>
          <a:stretch>
            <a:fillRect/>
          </a:stretch>
        </p:blipFill>
        <p:spPr bwMode="ltGray">
          <a:xfrm>
            <a:off x="319088" y="2826544"/>
            <a:ext cx="8501062" cy="32266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3058716"/>
            <a:ext cx="8496300" cy="1268015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869101"/>
            <a:ext cx="84963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7570" name="think-cell Slide" r:id="rId9" imgW="360" imgH="360" progId="">
              <p:embed/>
            </p:oleObj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2"/>
            </p:custDataLst>
          </p:nvPr>
        </p:nvSpPr>
        <p:spPr bwMode="invGray">
          <a:xfrm>
            <a:off x="319089" y="3301604"/>
            <a:ext cx="8510587" cy="102512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2505076"/>
            <a:ext cx="8186737" cy="182165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pic>
        <p:nvPicPr>
          <p:cNvPr id="8" name="Picture 26" descr="T_Logo_3c_Slogan_p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63742"/>
          <a:stretch>
            <a:fillRect/>
          </a:stretch>
        </p:blipFill>
        <p:spPr bwMode="black">
          <a:xfrm>
            <a:off x="323850" y="4604148"/>
            <a:ext cx="1079500" cy="296465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19088" y="2706731"/>
            <a:ext cx="7736400" cy="162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lnSpc>
                <a:spcPct val="90000"/>
              </a:lnSpc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pic>
        <p:nvPicPr>
          <p:cNvPr id="9" name="Picture 27" descr="T_Logo_3c_Slogan_p_DE_EMF CD EXPOR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 l="40443"/>
          <a:stretch>
            <a:fillRect/>
          </a:stretch>
        </p:blipFill>
        <p:spPr bwMode="black">
          <a:xfrm>
            <a:off x="7043739" y="4604148"/>
            <a:ext cx="1773237" cy="296465"/>
          </a:xfrm>
          <a:prstGeom prst="rect">
            <a:avLst/>
          </a:prstGeom>
          <a:noFill/>
        </p:spPr>
      </p:pic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8594" name="think-cell Slide" r:id="rId11" imgW="360" imgH="360" progId="">
              <p:embed/>
            </p:oleObj>
          </a:graphicData>
        </a:graphic>
      </p:graphicFrame>
      <p:pic>
        <p:nvPicPr>
          <p:cNvPr id="10" name="Bild 12" descr="Musterbild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19089" y="3301604"/>
            <a:ext cx="8510587" cy="1608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19089" y="2505075"/>
            <a:ext cx="8186737" cy="239196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de-DE" sz="4000" dirty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5"/>
            </p:custDataLst>
          </p:nvPr>
        </p:nvSpPr>
        <p:spPr bwMode="ltGray">
          <a:xfrm>
            <a:off x="319088" y="2706731"/>
            <a:ext cx="7736400" cy="219031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319088" y="2706731"/>
            <a:ext cx="77364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468000" y="3707101"/>
            <a:ext cx="7587488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pic>
        <p:nvPicPr>
          <p:cNvPr id="11" name="Picture 23" descr="T_Logo_3c_Slogan_n_DE_EMF CD EXPORT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 r="69640"/>
          <a:stretch>
            <a:fillRect/>
          </a:stretch>
        </p:blipFill>
        <p:spPr bwMode="black">
          <a:xfrm>
            <a:off x="484188" y="4473179"/>
            <a:ext cx="908050" cy="297656"/>
          </a:xfrm>
          <a:prstGeom prst="rect">
            <a:avLst/>
          </a:prstGeom>
          <a:noFill/>
        </p:spPr>
      </p:pic>
      <p:pic>
        <p:nvPicPr>
          <p:cNvPr id="12" name="Picture 24" descr="T_Logo_3c_Slogan_n_DE_EMF CD EXPOR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/>
          <a:srcRect l="40712"/>
          <a:stretch>
            <a:fillRect/>
          </a:stretch>
        </p:blipFill>
        <p:spPr bwMode="black">
          <a:xfrm>
            <a:off x="6904037" y="4473179"/>
            <a:ext cx="1773238" cy="297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04800" y="132992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E51288E-2672-4309-9252-76FD6580917C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52E9185D-C9FC-45FA-8FFF-58E5FC476BD6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5" y="1329929"/>
            <a:ext cx="8503445" cy="3212306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>
            <a:lvl1pPr>
              <a:defRPr/>
            </a:lvl1pPr>
          </a:lstStyle>
          <a:p>
            <a:fld id="{2663C95C-6192-49E4-8ECF-2F2123753266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4806361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075" name="think-cell Slide" r:id="rId26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250031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329928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26" y="4806361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B24C9FE0-FFF6-4D03-BFDB-FE5D4DB8811D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4806361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dirty="0" smtClean="0"/>
              <a:t>– OpenStack Summit 2016 –                       A. Perri, J. Schäfer, O. Klippel / Cloud Kindergar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1" y="4806361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 dirty="0"/>
          </a:p>
        </p:txBody>
      </p:sp>
      <p:pic>
        <p:nvPicPr>
          <p:cNvPr id="1077" name="Picture 53" descr="T_Logo_3c_Slogan_p_DE_EMF CD EXPOR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7"/>
          <a:srcRect/>
          <a:stretch>
            <a:fillRect/>
          </a:stretch>
        </p:blipFill>
        <p:spPr bwMode="black">
          <a:xfrm>
            <a:off x="319089" y="4760119"/>
            <a:ext cx="2173287" cy="2166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8" r:id="rId16"/>
    <p:sldLayoutId id="2147483770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1.xml"/><Relationship Id="rId13" Type="http://schemas.openxmlformats.org/officeDocument/2006/relationships/diagramColors" Target="../diagrams/colors12.xml"/><Relationship Id="rId3" Type="http://schemas.openxmlformats.org/officeDocument/2006/relationships/image" Target="../media/image12.jpeg"/><Relationship Id="rId7" Type="http://schemas.openxmlformats.org/officeDocument/2006/relationships/diagramQuickStyle" Target="../diagrams/quickStyle11.xml"/><Relationship Id="rId12" Type="http://schemas.openxmlformats.org/officeDocument/2006/relationships/diagramQuickStyle" Target="../diagrams/quickStyle1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1.xml"/><Relationship Id="rId11" Type="http://schemas.openxmlformats.org/officeDocument/2006/relationships/diagramLayout" Target="../diagrams/layout12.xml"/><Relationship Id="rId5" Type="http://schemas.openxmlformats.org/officeDocument/2006/relationships/diagramData" Target="../diagrams/data11.xml"/><Relationship Id="rId10" Type="http://schemas.openxmlformats.org/officeDocument/2006/relationships/diagramData" Target="../diagrams/data12.xml"/><Relationship Id="rId4" Type="http://schemas.openxmlformats.org/officeDocument/2006/relationships/image" Target="../media/image27.jpeg"/><Relationship Id="rId9" Type="http://schemas.microsoft.com/office/2007/relationships/diagramDrawing" Target="../diagrams/drawing11.xml"/><Relationship Id="rId14" Type="http://schemas.microsoft.com/office/2007/relationships/diagramDrawing" Target="../diagrams/drawing1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5.xml"/><Relationship Id="rId13" Type="http://schemas.openxmlformats.org/officeDocument/2006/relationships/diagramQuickStyle" Target="../diagrams/quickStyle16.xml"/><Relationship Id="rId3" Type="http://schemas.openxmlformats.org/officeDocument/2006/relationships/notesSlide" Target="../notesSlides/notesSlide14.xml"/><Relationship Id="rId7" Type="http://schemas.openxmlformats.org/officeDocument/2006/relationships/diagramLayout" Target="../diagrams/layout15.xml"/><Relationship Id="rId12" Type="http://schemas.openxmlformats.org/officeDocument/2006/relationships/diagramLayout" Target="../diagrams/layout1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diagramData" Target="../diagrams/data15.xml"/><Relationship Id="rId11" Type="http://schemas.openxmlformats.org/officeDocument/2006/relationships/diagramData" Target="../diagrams/data16.xml"/><Relationship Id="rId5" Type="http://schemas.openxmlformats.org/officeDocument/2006/relationships/oleObject" Target="../embeddings/oleObject13.bin"/><Relationship Id="rId15" Type="http://schemas.microsoft.com/office/2007/relationships/diagramDrawing" Target="../diagrams/drawing16.xml"/><Relationship Id="rId10" Type="http://schemas.microsoft.com/office/2007/relationships/diagramDrawing" Target="../diagrams/drawing15.xml"/><Relationship Id="rId4" Type="http://schemas.openxmlformats.org/officeDocument/2006/relationships/image" Target="../media/image12.jpeg"/><Relationship Id="rId9" Type="http://schemas.openxmlformats.org/officeDocument/2006/relationships/diagramColors" Target="../diagrams/colors15.xml"/><Relationship Id="rId14" Type="http://schemas.openxmlformats.org/officeDocument/2006/relationships/diagramColors" Target="../diagrams/colors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7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QuickStyle" Target="../diagrams/quickStyl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Layout" Target="../diagrams/layout4.xml"/><Relationship Id="rId5" Type="http://schemas.openxmlformats.org/officeDocument/2006/relationships/diagramQuickStyle" Target="../diagrams/quickStyle3.xml"/><Relationship Id="rId10" Type="http://schemas.openxmlformats.org/officeDocument/2006/relationships/diagramData" Target="../diagrams/data4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8.jpeg"/><Relationship Id="rId14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diagramColors" Target="../diagrams/colors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5.xml"/><Relationship Id="rId11" Type="http://schemas.openxmlformats.org/officeDocument/2006/relationships/diagramLayout" Target="../diagrams/layout6.xml"/><Relationship Id="rId5" Type="http://schemas.openxmlformats.org/officeDocument/2006/relationships/diagramQuickStyle" Target="../diagrams/quickStyle5.xml"/><Relationship Id="rId10" Type="http://schemas.openxmlformats.org/officeDocument/2006/relationships/diagramData" Target="../diagrams/data6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jpeg"/><Relationship Id="rId14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openxmlformats.org/officeDocument/2006/relationships/diagramQuickStyle" Target="../diagrams/quickStyle8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7.xml"/><Relationship Id="rId12" Type="http://schemas.openxmlformats.org/officeDocument/2006/relationships/diagramLayout" Target="../diagrams/layout8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Relationship Id="rId6" Type="http://schemas.openxmlformats.org/officeDocument/2006/relationships/diagramQuickStyle" Target="../diagrams/quickStyle7.xml"/><Relationship Id="rId11" Type="http://schemas.openxmlformats.org/officeDocument/2006/relationships/diagramData" Target="../diagrams/data8.xml"/><Relationship Id="rId5" Type="http://schemas.openxmlformats.org/officeDocument/2006/relationships/diagramLayout" Target="../diagrams/layout7.xml"/><Relationship Id="rId15" Type="http://schemas.microsoft.com/office/2007/relationships/diagramDrawing" Target="../diagrams/drawing8.xml"/><Relationship Id="rId10" Type="http://schemas.openxmlformats.org/officeDocument/2006/relationships/image" Target="../media/image20.jpeg"/><Relationship Id="rId4" Type="http://schemas.openxmlformats.org/officeDocument/2006/relationships/diagramData" Target="../diagrams/data7.xml"/><Relationship Id="rId9" Type="http://schemas.openxmlformats.org/officeDocument/2006/relationships/image" Target="../media/image12.jpeg"/><Relationship Id="rId14" Type="http://schemas.openxmlformats.org/officeDocument/2006/relationships/diagramColors" Target="../diagrams/colors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2.jpe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diagramQuickStyle" Target="../diagrams/quickStyle10.xml"/><Relationship Id="rId3" Type="http://schemas.openxmlformats.org/officeDocument/2006/relationships/image" Target="../media/image13.jpeg"/><Relationship Id="rId7" Type="http://schemas.openxmlformats.org/officeDocument/2006/relationships/image" Target="../media/image23.jpeg"/><Relationship Id="rId12" Type="http://schemas.openxmlformats.org/officeDocument/2006/relationships/diagramLayout" Target="../diagrams/layou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11" Type="http://schemas.openxmlformats.org/officeDocument/2006/relationships/diagramData" Target="../diagrams/data10.xml"/><Relationship Id="rId5" Type="http://schemas.openxmlformats.org/officeDocument/2006/relationships/image" Target="../media/image21.jpeg"/><Relationship Id="rId15" Type="http://schemas.microsoft.com/office/2007/relationships/diagramDrawing" Target="../diagrams/drawing10.xml"/><Relationship Id="rId10" Type="http://schemas.openxmlformats.org/officeDocument/2006/relationships/image" Target="../media/image26.png"/><Relationship Id="rId4" Type="http://schemas.openxmlformats.org/officeDocument/2006/relationships/image" Target="../media/image12.jpeg"/><Relationship Id="rId9" Type="http://schemas.openxmlformats.org/officeDocument/2006/relationships/image" Target="../media/image25.jpeg"/><Relationship Id="rId14" Type="http://schemas.openxmlformats.org/officeDocument/2006/relationships/diagramColors" Target="../diagrams/colors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Zeichnung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32316"/>
            <a:ext cx="9144000" cy="3424730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4384" name="think-cell Slide" r:id="rId5" imgW="360" imgH="360" progId="">
              <p:embed/>
            </p:oleObj>
          </a:graphicData>
        </a:graphic>
      </p:graphicFrame>
      <p:sp>
        <p:nvSpPr>
          <p:cNvPr id="10" name="Untertitel 9"/>
          <p:cNvSpPr>
            <a:spLocks noGrp="1"/>
          </p:cNvSpPr>
          <p:nvPr>
            <p:ph type="subTitle" idx="4294967295"/>
          </p:nvPr>
        </p:nvSpPr>
        <p:spPr>
          <a:xfrm>
            <a:off x="4738709" y="1968840"/>
            <a:ext cx="3124863" cy="641009"/>
          </a:xfrm>
        </p:spPr>
        <p:txBody>
          <a:bodyPr/>
          <a:lstStyle/>
          <a:p>
            <a:pPr algn="ctr"/>
            <a:r>
              <a:rPr lang="de-DE" sz="24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Apprentices starting with</a:t>
            </a:r>
            <a:endParaRPr lang="de-DE" sz="2400" dirty="0">
              <a:solidFill>
                <a:srgbClr val="E200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216606"/>
            <a:ext cx="9144000" cy="553998"/>
          </a:xfrm>
        </p:spPr>
        <p:txBody>
          <a:bodyPr/>
          <a:lstStyle/>
          <a:p>
            <a:pPr algn="ctr"/>
            <a:r>
              <a:rPr lang="de-DE" sz="40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„CLOUD KINDERGARTEN“</a:t>
            </a:r>
            <a:endParaRPr lang="de-DE" sz="40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1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5611" y="2772710"/>
            <a:ext cx="1748005" cy="165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 descr="20160316_16223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4204" y="2012989"/>
            <a:ext cx="1958074" cy="23820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Plus 14"/>
          <p:cNvSpPr/>
          <p:nvPr/>
        </p:nvSpPr>
        <p:spPr>
          <a:xfrm>
            <a:off x="4323200" y="3021049"/>
            <a:ext cx="679453" cy="648350"/>
          </a:xfrm>
          <a:prstGeom prst="math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2.	TelekomCLOUD + OpenStac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AC0D7-28A0-4EFD-9839-B1F6A5BE2FD3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1 Refcard – Overview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220922" y="2207942"/>
            <a:ext cx="376022" cy="34011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07766" y="3960361"/>
            <a:ext cx="2958790" cy="213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Picture: Refcard Telekom SMB Cloud</a:t>
            </a:r>
          </a:p>
        </p:txBody>
      </p:sp>
      <p:pic>
        <p:nvPicPr>
          <p:cNvPr id="2" name="Picture 1" descr="\\HE100167e005\a48937014$\Home\Data\Präsentation\Pics\Telekom Small Business 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9148" y="808213"/>
            <a:ext cx="2488358" cy="3050110"/>
          </a:xfrm>
          <a:prstGeom prst="rect">
            <a:avLst/>
          </a:prstGeom>
          <a:noFill/>
        </p:spPr>
      </p:pic>
      <p:sp>
        <p:nvSpPr>
          <p:cNvPr id="18" name="Foliennummernplatzhalt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1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Diagramm 1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1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m 13"/>
          <p:cNvGraphicFramePr/>
          <p:nvPr/>
        </p:nvGraphicFramePr>
        <p:xfrm>
          <a:off x="78648" y="171109"/>
          <a:ext cx="5183583" cy="4470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Services We Use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845747" y="920079"/>
          <a:ext cx="7404411" cy="31506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481017"/>
                <a:gridCol w="3923394"/>
              </a:tblGrid>
              <a:tr h="350076">
                <a:tc>
                  <a:txBody>
                    <a:bodyPr/>
                    <a:lstStyle/>
                    <a:p>
                      <a:r>
                        <a:rPr lang="de-DE" sz="1800" baseline="0" dirty="0" smtClean="0">
                          <a:latin typeface="Arial" pitchFamily="34" charset="0"/>
                          <a:cs typeface="Arial" pitchFamily="34" charset="0"/>
                        </a:rPr>
                        <a:t>Service Name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latin typeface="Arial" pitchFamily="34" charset="0"/>
                          <a:cs typeface="Arial" pitchFamily="34" charset="0"/>
                        </a:rPr>
                        <a:t>Function</a:t>
                      </a:r>
                      <a:endParaRPr lang="de-DE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/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Comput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irtual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achin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utron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Networking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etwork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inder</a:t>
                      </a: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Block Storag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torage</a:t>
                      </a:r>
                      <a:r>
                        <a:rPr lang="de-DE" sz="14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Resourc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Keystone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dentity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dentity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lance</a:t>
                      </a:r>
                      <a:r>
                        <a:rPr lang="de-DE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mage Service)</a:t>
                      </a:r>
                      <a:endParaRPr lang="de-DE" sz="120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mage Management</a:t>
                      </a:r>
                      <a:endParaRPr lang="de-DE" sz="14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abbitMQ</a:t>
                      </a:r>
                      <a:r>
                        <a:rPr lang="de-DE" sz="16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Message Oriented Middleware)</a:t>
                      </a:r>
                      <a:endParaRPr lang="de-DE" sz="12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mmunication Management</a:t>
                      </a:r>
                      <a:endParaRPr lang="de-DE" sz="14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latin typeface="Arial" pitchFamily="34" charset="0"/>
                          <a:cs typeface="Arial" pitchFamily="34" charset="0"/>
                        </a:rPr>
                        <a:t>Razor </a:t>
                      </a:r>
                      <a:r>
                        <a:rPr lang="de-DE" sz="1200" dirty="0" smtClean="0">
                          <a:latin typeface="Arial" pitchFamily="34" charset="0"/>
                          <a:cs typeface="Arial" pitchFamily="34" charset="0"/>
                        </a:rPr>
                        <a:t>(Bare-Metal Provisioning)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Process Of Installing An Operating</a:t>
                      </a:r>
                      <a:r>
                        <a:rPr lang="de-DE" sz="1400" baseline="0" dirty="0" smtClean="0">
                          <a:latin typeface="Arial" pitchFamily="34" charset="0"/>
                          <a:cs typeface="Arial" pitchFamily="34" charset="0"/>
                        </a:rPr>
                        <a:t> System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  <a:tr h="3500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latin typeface="Arial" pitchFamily="34" charset="0"/>
                          <a:cs typeface="Arial" pitchFamily="34" charset="0"/>
                        </a:rPr>
                        <a:t>Ceph S3 </a:t>
                      </a:r>
                      <a:r>
                        <a:rPr lang="de-DE" sz="1200" kern="1200" dirty="0" smtClean="0">
                          <a:latin typeface="Arial" pitchFamily="34" charset="0"/>
                          <a:cs typeface="Arial" pitchFamily="34" charset="0"/>
                        </a:rPr>
                        <a:t>(Object Storage)</a:t>
                      </a:r>
                      <a:endParaRPr lang="de-DE" sz="12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latin typeface="Arial" pitchFamily="34" charset="0"/>
                          <a:cs typeface="Arial" pitchFamily="34" charset="0"/>
                        </a:rPr>
                        <a:t>Storage Resource Management</a:t>
                      </a:r>
                      <a:endParaRPr lang="de-DE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>
                    <a:solidFill>
                      <a:srgbClr val="6CAFDC"/>
                    </a:solidFill>
                  </a:tcPr>
                </a:tc>
              </a:tr>
            </a:tbl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tx2">
                <a:tint val="45000"/>
                <a:satMod val="400000"/>
              </a:schemeClr>
            </a:duotone>
            <a:lum contrast="25000"/>
          </a:blip>
          <a:srcRect/>
          <a:stretch>
            <a:fillRect l="475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2.2 Our Deployment – </a:t>
            </a:r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center</a:t>
            </a:r>
            <a:endParaRPr lang="de-DE" sz="3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99053" y="832104"/>
            <a:ext cx="4272948" cy="3500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rand new datacenter Biere near Magdeburg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largest cloud datacenter in german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40.000 m² area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security through complex security system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12 emergency power generators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high availability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</a:t>
            </a: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sz="1600" dirty="0" smtClean="0">
                <a:solidFill>
                  <a:srgbClr val="E20074"/>
                </a:solidFill>
                <a:latin typeface="Arial" pitchFamily="34" charset="0"/>
                <a:cs typeface="Arial" pitchFamily="34" charset="0"/>
              </a:rPr>
              <a:t>	we give the resources you need !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sp>
        <p:nvSpPr>
          <p:cNvPr id="17" name="Pfeil nach rechts 16"/>
          <p:cNvSpPr/>
          <p:nvPr/>
        </p:nvSpPr>
        <p:spPr>
          <a:xfrm>
            <a:off x="209255" y="3483866"/>
            <a:ext cx="307361" cy="253339"/>
          </a:xfrm>
          <a:prstGeom prst="rightArrow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rgbClr val="E20074"/>
              </a:solidFill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>
          <a:xfrm>
            <a:off x="8540751" y="4806361"/>
            <a:ext cx="288925" cy="138499"/>
          </a:xfrm>
        </p:spPr>
        <p:txBody>
          <a:bodyPr/>
          <a:lstStyle/>
          <a:p>
            <a:fld id="{EF856C3B-4879-44CB-8ACD-F9C43CE31EF6}" type="slidenum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3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A. Perri, J. Schäfer, O. Klippel / Cloud Kindergarten</a:t>
            </a:r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2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23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24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6" presetClass="emph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28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29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30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31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4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27682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1329929"/>
            <a:ext cx="9144000" cy="1107996"/>
          </a:xfrm>
        </p:spPr>
        <p:txBody>
          <a:bodyPr/>
          <a:lstStyle/>
          <a:p>
            <a:pPr algn="ctr"/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ank you for </a:t>
            </a:r>
            <a:b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ur Attention !!</a:t>
            </a:r>
            <a:endParaRPr lang="de-DE" sz="4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686" name="AutoShape 6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88" name="AutoShape 8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7690" name="AutoShape 10" descr="https://s-media-cache-ak0.pinimg.com/originals/71/07/fa/7107fab1f37ca3f018eded40c291a83d.jp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Clr clrSpc="rgb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animClr clrSpc="rgb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anim to="1.5" calcmode="lin" valueType="num">
                                      <p:cBhvr override="childStyle"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/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308226" name="think-cell Slide" r:id="rId5" imgW="360" imgH="360" progId="">
              <p:embed/>
            </p:oleObj>
          </a:graphicData>
        </a:graphic>
      </p:graphicFrame>
      <p:sp>
        <p:nvSpPr>
          <p:cNvPr id="9" name="Titel 8"/>
          <p:cNvSpPr>
            <a:spLocks noGrp="1"/>
          </p:cNvSpPr>
          <p:nvPr>
            <p:ph type="ctrTitle" idx="4294967295"/>
          </p:nvPr>
        </p:nvSpPr>
        <p:spPr>
          <a:xfrm>
            <a:off x="0" y="269023"/>
            <a:ext cx="9144000" cy="443198"/>
          </a:xfrm>
        </p:spPr>
        <p:txBody>
          <a:bodyPr/>
          <a:lstStyle/>
          <a:p>
            <a:pPr algn="ctr"/>
            <a:r>
              <a:rPr lang="de-DE" sz="3200" dirty="0" smtClean="0">
                <a:latin typeface="Arial" pitchFamily="34" charset="0"/>
                <a:cs typeface="Arial" pitchFamily="34" charset="0"/>
              </a:rPr>
              <a:t>Sour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176" y="936703"/>
            <a:ext cx="9140824" cy="15645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de-DE" dirty="0" smtClean="0"/>
              <a:t>	</a:t>
            </a: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de-DE" sz="2000" dirty="0" smtClean="0">
              <a:latin typeface="Tele-GroteskHal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</a:pPr>
            <a:endParaRPr lang="de-DE" sz="2000" dirty="0" smtClean="0"/>
          </a:p>
        </p:txBody>
      </p:sp>
      <p:graphicFrame>
        <p:nvGraphicFramePr>
          <p:cNvPr id="13" name="Diagramm 12"/>
          <p:cNvGraphicFramePr/>
          <p:nvPr/>
        </p:nvGraphicFramePr>
        <p:xfrm>
          <a:off x="333957" y="768971"/>
          <a:ext cx="7636071" cy="34785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1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3.	Questions &amp; Answer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A1AD7-90B3-47D7-BDAD-951EBC8E25BC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hidden">
          <a:xfrm>
            <a:off x="1757" y="559"/>
            <a:ext cx="9140486" cy="5142941"/>
          </a:xfrm>
          <a:prstGeom prst="rect">
            <a:avLst/>
          </a:prstGeom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723634" y="735963"/>
          <a:ext cx="5650549" cy="336998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558162"/>
                <a:gridCol w="5092387"/>
              </a:tblGrid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de-DE" sz="2800" b="1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roduction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.1 Workflow / Experiences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lekomCLOUD</a:t>
                      </a:r>
                      <a:r>
                        <a:rPr lang="de-DE" sz="28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+ OpenStack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1 Refcard Overview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4968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endParaRPr lang="de-DE" sz="20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.2 Our Deployment</a:t>
                      </a: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  <a:tr h="626441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de-DE" sz="24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de-DE" sz="2800" b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de-DE" sz="2800" b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de-DE" sz="28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Q &amp; A</a:t>
                      </a:r>
                      <a:endParaRPr lang="de-DE" sz="2800" b="1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568" marR="72568" marT="27210" marB="2721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77470" h="12700" prst="softRound"/>
                      <a:lightRig rig="flood" dir="t"/>
                    </a:cell3D>
                  </a:tcPr>
                </a:tc>
              </a:tr>
            </a:tbl>
          </a:graphicData>
        </a:graphic>
      </p:graphicFrame>
      <p:pic>
        <p:nvPicPr>
          <p:cNvPr id="362497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8724926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>
          <a:xfrm>
            <a:off x="326552" y="1028529"/>
            <a:ext cx="8490331" cy="553998"/>
          </a:xfrm>
        </p:spPr>
        <p:txBody>
          <a:bodyPr/>
          <a:lstStyle/>
          <a:p>
            <a:r>
              <a:rPr lang="de-DE" sz="4000" b="1" dirty="0" smtClean="0">
                <a:latin typeface="Arial" pitchFamily="34" charset="0"/>
                <a:cs typeface="Arial" pitchFamily="34" charset="0"/>
              </a:rPr>
              <a:t>1.	Introdu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2DF56-F3D1-445D-AF0D-4CE07C1FAC3B}" type="datetime1">
              <a:rPr lang="de-DE" smtClean="0"/>
              <a:pPr/>
              <a:t>13.10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OpenStack Summit 2016 –                       A. Perri, J. Schäfer, O. Klippel / Cloud Kindergarten</a:t>
            </a:r>
            <a:endParaRPr lang="en-US" dirty="0"/>
          </a:p>
        </p:txBody>
      </p:sp>
      <p:pic>
        <p:nvPicPr>
          <p:cNvPr id="6" name="Picture 1" descr="\\HE100167e005\a48937014$\Home\Data\Präsentation\Pics\T-Logo_1T3 ohne Slogan\PNG\T_Logo_3c_n_D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690" y="4570940"/>
            <a:ext cx="962025" cy="3548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837434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 txBox="1">
            <a:spLocks/>
          </p:cNvSpPr>
          <p:nvPr/>
        </p:nvSpPr>
        <p:spPr>
          <a:xfrm>
            <a:off x="304800" y="250031"/>
            <a:ext cx="8496300" cy="44019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1.</a:t>
            </a:r>
            <a:r>
              <a:rPr lang="de-DE" sz="3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 Introduction – Frank Klöker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aphicFrame>
        <p:nvGraphicFramePr>
          <p:cNvPr id="13" name="Diagramm 12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graphicFrame>
        <p:nvGraphicFramePr>
          <p:cNvPr id="12" name="Diagramm 11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Grafik 20" descr="FKl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85468">
            <a:off x="6298627" y="464533"/>
            <a:ext cx="1451487" cy="2069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Oliver Klippel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6" y="786160"/>
          <a:ext cx="7184070" cy="324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5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4" name="Picture 3" descr="\\HE100167e005\a48937014$\Home\Data\Präsentation\Pics\OliverKlippel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95879">
            <a:off x="6315191" y="837802"/>
            <a:ext cx="1557172" cy="16546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Janika Schäfer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4" y="786159"/>
          <a:ext cx="7178173" cy="326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18" name="Picture 2" descr="\\HE100167e005\a48937014$\Home\Data\Präsentation\Pics\IMG_20160902_09525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31618">
            <a:off x="6323341" y="844558"/>
            <a:ext cx="1394813" cy="1800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 Introduction – Adriano Perri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Datumsplatzhalt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7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Diagramm 8"/>
          <p:cNvGraphicFramePr/>
          <p:nvPr/>
        </p:nvGraphicFramePr>
        <p:xfrm>
          <a:off x="349405" y="786161"/>
          <a:ext cx="7184072" cy="3260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pic>
        <p:nvPicPr>
          <p:cNvPr id="354305" name="Picture 1" descr="\\HE100167e005\a48937014$\Home\Data\Präsentation\Pics\profile-image-display.jspa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rot="162481">
            <a:off x="6296871" y="771389"/>
            <a:ext cx="1453095" cy="1809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1" name="Diagramm 10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414723" name="Rectangle 2"/>
          <p:cNvSpPr>
            <a:spLocks noGrp="1" noChangeArrowheads="1"/>
          </p:cNvSpPr>
          <p:nvPr>
            <p:ph type="title"/>
          </p:nvPr>
        </p:nvSpPr>
        <p:spPr>
          <a:xfrm>
            <a:off x="326552" y="200020"/>
            <a:ext cx="8490331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Workflow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260849" y="3396262"/>
            <a:ext cx="4008773" cy="612236"/>
            <a:chOff x="181548" y="4645342"/>
            <a:chExt cx="4419394" cy="900024"/>
          </a:xfrm>
        </p:grpSpPr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4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t an Overview</a:t>
              </a:r>
              <a:endParaRPr lang="de-DE" altLang="de-DE" sz="14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nderstand the task/topic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lear up ques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et inspired by other refcards</a:t>
              </a:r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1799688" y="2584166"/>
            <a:ext cx="4008773" cy="612236"/>
            <a:chOff x="181548" y="4645342"/>
            <a:chExt cx="4419394" cy="900024"/>
          </a:xfrm>
        </p:grpSpPr>
        <p:sp>
          <p:nvSpPr>
            <p:cNvPr id="46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47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ep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important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hat is asked for ?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time management</a:t>
              </a:r>
              <a:endParaRPr lang="de-DE" sz="105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2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4" name="Gruppieren 49"/>
          <p:cNvGrpSpPr/>
          <p:nvPr/>
        </p:nvGrpSpPr>
        <p:grpSpPr>
          <a:xfrm>
            <a:off x="3338527" y="1772072"/>
            <a:ext cx="4008773" cy="612236"/>
            <a:chOff x="181548" y="4645342"/>
            <a:chExt cx="4419394" cy="900024"/>
          </a:xfrm>
        </p:grpSpPr>
        <p:sp>
          <p:nvSpPr>
            <p:cNvPr id="51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3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ocumentation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gather information unfiltered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screen informatio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organize them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3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" name="Gruppieren 55"/>
          <p:cNvGrpSpPr/>
          <p:nvPr/>
        </p:nvGrpSpPr>
        <p:grpSpPr>
          <a:xfrm>
            <a:off x="4877365" y="959978"/>
            <a:ext cx="4008773" cy="612236"/>
            <a:chOff x="181548" y="4645342"/>
            <a:chExt cx="4419394" cy="900024"/>
          </a:xfrm>
        </p:grpSpPr>
        <p:sp>
          <p:nvSpPr>
            <p:cNvPr id="58" name="Line 16"/>
            <p:cNvSpPr>
              <a:spLocks noChangeShapeType="1"/>
            </p:cNvSpPr>
            <p:nvPr/>
          </p:nvSpPr>
          <p:spPr bwMode="auto">
            <a:xfrm>
              <a:off x="1882197" y="4645342"/>
              <a:ext cx="2718745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de-DE" dirty="0"/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auto">
            <a:xfrm>
              <a:off x="330927" y="4645342"/>
              <a:ext cx="2000561" cy="900024"/>
            </a:xfrm>
            <a:prstGeom prst="homePlate">
              <a:avLst>
                <a:gd name="adj" fmla="val 44937"/>
              </a:avLst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  <a:extLst/>
          </p:spPr>
          <p:txBody>
            <a:bodyPr wrap="none" lIns="252000" tIns="72000" rIns="72000" bIns="72000" anchor="t" anchorCtr="0"/>
            <a:lstStyle/>
            <a:p>
              <a:pPr defTabSz="829361" eaLnBrk="0" hangingPunct="0">
                <a:lnSpc>
                  <a:spcPct val="90000"/>
                </a:lnSpc>
                <a:spcBef>
                  <a:spcPct val="30000"/>
                </a:spcBef>
              </a:pPr>
              <a:r>
                <a:rPr lang="de-DE" altLang="de-DE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Refcard</a:t>
              </a:r>
              <a:endParaRPr lang="de-DE" altLang="de-D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6"/>
            <p:cNvSpPr>
              <a:spLocks noChangeArrowheads="1"/>
            </p:cNvSpPr>
            <p:nvPr/>
          </p:nvSpPr>
          <p:spPr bwMode="auto">
            <a:xfrm>
              <a:off x="2331488" y="4645342"/>
              <a:ext cx="2269454" cy="90002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writing down (structured)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comply with the corporate design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r>
                <a:rPr lang="de-DE" sz="1050" dirty="0" smtClean="0">
                  <a:latin typeface="Arial" pitchFamily="34" charset="0"/>
                  <a:cs typeface="Arial" pitchFamily="34" charset="0"/>
                </a:rPr>
                <a:t>use supporting illustrations</a:t>
              </a:r>
            </a:p>
            <a:p>
              <a:pPr marL="163260" lvl="1" indent="-163260" defTabSz="829361">
                <a:lnSpc>
                  <a:spcPct val="104000"/>
                </a:lnSpc>
                <a:spcBef>
                  <a:spcPts val="272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</a:pPr>
              <a:endParaRPr lang="de-DE" sz="1300" dirty="0">
                <a:latin typeface="Tele-GroteskNor" pitchFamily="2" charset="0"/>
                <a:cs typeface="Arial Unicode MS"/>
              </a:endParaRPr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gray">
            <a:xfrm>
              <a:off x="181548" y="4645342"/>
              <a:ext cx="298764" cy="298764"/>
            </a:xfrm>
            <a:prstGeom prst="ellipse">
              <a:avLst/>
            </a:prstGeom>
            <a:solidFill>
              <a:schemeClr val="tx2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29361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  <a:ea typeface="Arial Unicode MS"/>
                  <a:cs typeface="Arial" pitchFamily="34" charset="0"/>
                </a:rPr>
                <a:t>4</a:t>
              </a:r>
              <a:endParaRPr lang="de-DE" sz="1400" dirty="0">
                <a:solidFill>
                  <a:srgbClr val="FFFFFF"/>
                </a:solidFill>
                <a:latin typeface="Arial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25" name="Foliennummernplatzhalter 2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3FF9DF-EEDF-42AD-BDFB-DE3D95DE5D64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8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Diagramm 29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="" xmlns:p14="http://schemas.microsoft.com/office/powerpoint/2010/main" val="846090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efaltete Ecke 72"/>
          <p:cNvSpPr/>
          <p:nvPr/>
        </p:nvSpPr>
        <p:spPr>
          <a:xfrm>
            <a:off x="355600" y="36322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2" name="Gefaltete Ecke 71"/>
          <p:cNvSpPr/>
          <p:nvPr/>
        </p:nvSpPr>
        <p:spPr>
          <a:xfrm>
            <a:off x="355600" y="269875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1" name="Gefaltete Ecke 70"/>
          <p:cNvSpPr/>
          <p:nvPr/>
        </p:nvSpPr>
        <p:spPr>
          <a:xfrm>
            <a:off x="361950" y="17399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0" name="Gefaltete Ecke 69"/>
          <p:cNvSpPr/>
          <p:nvPr/>
        </p:nvSpPr>
        <p:spPr>
          <a:xfrm>
            <a:off x="368300" y="863600"/>
            <a:ext cx="1835150" cy="463550"/>
          </a:xfrm>
          <a:prstGeom prst="foldedCorner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6" name="Picture 1" descr="\\HE100167e005\a48937014$\Home\Data\Präsentation\Pics\OpenStack_Symbol0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47491" y="1556202"/>
            <a:ext cx="1821809" cy="1471016"/>
          </a:xfrm>
          <a:prstGeom prst="rect">
            <a:avLst/>
          </a:prstGeom>
          <a:noFill/>
        </p:spPr>
      </p:pic>
      <p:pic>
        <p:nvPicPr>
          <p:cNvPr id="28" name="Picture 2" descr="\\HE100167e005\a48937014$\Home\Data\Präsentation\Pics\Clou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577" y="128239"/>
            <a:ext cx="1108029" cy="756664"/>
          </a:xfrm>
          <a:prstGeom prst="rect">
            <a:avLst/>
          </a:prstGeom>
          <a:noFill/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04800" y="250031"/>
            <a:ext cx="8496300" cy="443198"/>
          </a:xfrm>
        </p:spPr>
        <p:txBody>
          <a:bodyPr/>
          <a:lstStyle/>
          <a:p>
            <a:r>
              <a:rPr lang="de-DE" sz="3200" dirty="0" smtClean="0">
                <a:latin typeface="Arial" pitchFamily="34" charset="0"/>
                <a:cs typeface="Arial" pitchFamily="34" charset="0"/>
              </a:rPr>
              <a:t>1.1 Experiences</a:t>
            </a:r>
            <a:endParaRPr lang="de-DE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b="1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ußzeilenplatzhalter 19"/>
          <p:cNvSpPr>
            <a:spLocks noGrp="1"/>
          </p:cNvSpPr>
          <p:nvPr>
            <p:ph type="ftr" sz="quarter" idx="11"/>
          </p:nvPr>
        </p:nvSpPr>
        <p:spPr>
          <a:xfrm>
            <a:off x="2557462" y="4806361"/>
            <a:ext cx="4568959" cy="138499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– OpenStack Summit 2016 –       A. Perri, J. Schäfer, O. Klippel / Cloud Kindergart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atumsplatzhalter 17"/>
          <p:cNvSpPr>
            <a:spLocks noGrp="1"/>
          </p:cNvSpPr>
          <p:nvPr>
            <p:ph type="dt" sz="half" idx="10"/>
          </p:nvPr>
        </p:nvSpPr>
        <p:spPr>
          <a:xfrm>
            <a:off x="6804026" y="4806361"/>
            <a:ext cx="1800225" cy="138499"/>
          </a:xfrm>
        </p:spPr>
        <p:txBody>
          <a:bodyPr/>
          <a:lstStyle/>
          <a:p>
            <a:fld id="{425AE0A2-55EE-4B8F-A5AD-213B487DD79A}" type="datetime1">
              <a:rPr lang="de-DE" b="1" smtClean="0">
                <a:latin typeface="Arial" pitchFamily="34" charset="0"/>
                <a:cs typeface="Arial" pitchFamily="34" charset="0"/>
              </a:rPr>
              <a:pPr/>
              <a:t>13.10.2016</a:t>
            </a:fld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gende mit Linie 2 51"/>
          <p:cNvSpPr/>
          <p:nvPr/>
        </p:nvSpPr>
        <p:spPr>
          <a:xfrm>
            <a:off x="3382216" y="16377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4" name="Legende mit Linie 2 53"/>
          <p:cNvSpPr/>
          <p:nvPr/>
        </p:nvSpPr>
        <p:spPr>
          <a:xfrm>
            <a:off x="3382216" y="25775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8" name="Legende mit Linie 2 57"/>
          <p:cNvSpPr/>
          <p:nvPr/>
        </p:nvSpPr>
        <p:spPr>
          <a:xfrm>
            <a:off x="3382216" y="35046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59" name="Legende mit Linie 2 58"/>
          <p:cNvSpPr/>
          <p:nvPr/>
        </p:nvSpPr>
        <p:spPr>
          <a:xfrm>
            <a:off x="3388566" y="723326"/>
            <a:ext cx="954834" cy="692724"/>
          </a:xfrm>
          <a:prstGeom prst="borderCallout2">
            <a:avLst>
              <a:gd name="adj1" fmla="val 54497"/>
              <a:gd name="adj2" fmla="val -14458"/>
              <a:gd name="adj3" fmla="val 54833"/>
              <a:gd name="adj4" fmla="val -63851"/>
              <a:gd name="adj5" fmla="val 55421"/>
              <a:gd name="adj6" fmla="val -121027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56" name="Picture 4" descr="\\HE100167e005\a48937014$\Home\Data\Präsentation\Pics\planung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54441" y="758150"/>
            <a:ext cx="827365" cy="619800"/>
          </a:xfrm>
          <a:prstGeom prst="rect">
            <a:avLst/>
          </a:prstGeom>
          <a:noFill/>
        </p:spPr>
      </p:pic>
      <p:pic>
        <p:nvPicPr>
          <p:cNvPr id="60" name="Picture 5" descr="\\HE100167e005\a48937014$\Home\Data\Präsentation\Pics\office anwendungen.png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17027" y="1671828"/>
            <a:ext cx="876387" cy="595122"/>
          </a:xfrm>
          <a:prstGeom prst="rect">
            <a:avLst/>
          </a:prstGeom>
          <a:noFill/>
        </p:spPr>
      </p:pic>
      <p:pic>
        <p:nvPicPr>
          <p:cNvPr id="61" name="Picture 6" descr="\\HE100167e005\a48937014$\Home\Data\Präsentation\Pics\creativ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03600" y="2603500"/>
            <a:ext cx="905187" cy="628650"/>
          </a:xfrm>
          <a:prstGeom prst="rect">
            <a:avLst/>
          </a:prstGeom>
          <a:noFill/>
        </p:spPr>
      </p:pic>
      <p:sp>
        <p:nvSpPr>
          <p:cNvPr id="62" name="Textfeld 61"/>
          <p:cNvSpPr txBox="1"/>
          <p:nvPr/>
        </p:nvSpPr>
        <p:spPr>
          <a:xfrm>
            <a:off x="361950" y="990600"/>
            <a:ext cx="18351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lf-management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61950" y="1892300"/>
            <a:ext cx="181610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ols to us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61950" y="28384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nd solutions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61950" y="3765550"/>
            <a:ext cx="182245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</a:pPr>
            <a:r>
              <a:rPr lang="de-DE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scover talents</a:t>
            </a:r>
          </a:p>
        </p:txBody>
      </p:sp>
      <p:pic>
        <p:nvPicPr>
          <p:cNvPr id="68" name="Picture 3" descr="\\HE100167e005\a48937014$\Home\Data\Präsentation\Pics\Cloud Computing.jpe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76509" y="2367875"/>
            <a:ext cx="1495692" cy="1232575"/>
          </a:xfrm>
          <a:prstGeom prst="rect">
            <a:avLst/>
          </a:prstGeom>
          <a:noFill/>
        </p:spPr>
      </p:pic>
      <p:sp>
        <p:nvSpPr>
          <p:cNvPr id="69" name="Explosion 2 68"/>
          <p:cNvSpPr/>
          <p:nvPr/>
        </p:nvSpPr>
        <p:spPr>
          <a:xfrm rot="21061925">
            <a:off x="4677941" y="404808"/>
            <a:ext cx="2963117" cy="1863733"/>
          </a:xfrm>
          <a:prstGeom prst="irregularSeal2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E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What?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Ahh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!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That‘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how it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works</a:t>
            </a:r>
            <a:r>
              <a:rPr lang="de-DE" sz="1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itchFamily="34" charset="0"/>
                <a:ea typeface="Batang" pitchFamily="18" charset="-127"/>
                <a:cs typeface="Narkisim" pitchFamily="34" charset="-79"/>
              </a:rPr>
              <a:t> !</a:t>
            </a:r>
          </a:p>
        </p:txBody>
      </p:sp>
      <p:pic>
        <p:nvPicPr>
          <p:cNvPr id="67" name="Picture 2" descr="\\HE100167e005\a48937014$\Home\Data\Präsentation\Pics\TelekomClou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25860" y="3174727"/>
            <a:ext cx="1875140" cy="1009923"/>
          </a:xfrm>
          <a:prstGeom prst="rect">
            <a:avLst/>
          </a:prstGeom>
          <a:noFill/>
        </p:spPr>
      </p:pic>
      <p:pic>
        <p:nvPicPr>
          <p:cNvPr id="31" name="Grafik 30" descr="creative drawing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2650" y="3530599"/>
            <a:ext cx="869950" cy="636565"/>
          </a:xfrm>
          <a:prstGeom prst="rect">
            <a:avLst/>
          </a:prstGeom>
        </p:spPr>
      </p:pic>
      <p:graphicFrame>
        <p:nvGraphicFramePr>
          <p:cNvPr id="32" name="Diagramm 31"/>
          <p:cNvGraphicFramePr/>
          <p:nvPr/>
        </p:nvGraphicFramePr>
        <p:xfrm>
          <a:off x="1223901" y="4426961"/>
          <a:ext cx="6752027" cy="316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FUl.HeU.ODiM5lGi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cFzc6NJU.uNsjx08YQ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X5v7yBs0yZmkUNG09R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sbZT_spU6_E6ZvDzhP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5mm2m2Q0.YkUkrPvdj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heme/theme1.xml><?xml version="1.0" encoding="utf-8"?>
<a:theme xmlns:a="http://schemas.openxmlformats.org/drawingml/2006/main" name="T_PPT_Master_2007_4_3_D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enutzerdefiniert 13">
    <a:dk1>
      <a:srgbClr val="000000"/>
    </a:dk1>
    <a:lt1>
      <a:srgbClr val="FFFFFF"/>
    </a:lt1>
    <a:dk2>
      <a:srgbClr val="E20074"/>
    </a:dk2>
    <a:lt2>
      <a:srgbClr val="A4A4A4"/>
    </a:lt2>
    <a:accent1>
      <a:srgbClr val="EDEDED"/>
    </a:accent1>
    <a:accent2>
      <a:srgbClr val="D0D0D0"/>
    </a:accent2>
    <a:accent3>
      <a:srgbClr val="7C7C7C"/>
    </a:accent3>
    <a:accent4>
      <a:srgbClr val="6C6C6C"/>
    </a:accent4>
    <a:accent5>
      <a:srgbClr val="4B4B4B"/>
    </a:accent5>
    <a:accent6>
      <a:srgbClr val="A4A4A4"/>
    </a:accent6>
    <a:hlink>
      <a:srgbClr val="E20074"/>
    </a:hlink>
    <a:folHlink>
      <a:srgbClr val="6C6C6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6</Words>
  <Application>Microsoft Office PowerPoint</Application>
  <PresentationFormat>Bildschirmpräsentation (16:9)</PresentationFormat>
  <Paragraphs>252</Paragraphs>
  <Slides>16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T_PPT_Master_2007_4_3_D</vt:lpstr>
      <vt:lpstr>think-cell Slide</vt:lpstr>
      <vt:lpstr>„CLOUD KINDERGARTEN“</vt:lpstr>
      <vt:lpstr>Agenda</vt:lpstr>
      <vt:lpstr>1. Introduction</vt:lpstr>
      <vt:lpstr>Folie 4</vt:lpstr>
      <vt:lpstr>1. Introduction – Oliver Klippel</vt:lpstr>
      <vt:lpstr>1. Introduction – Janika Schäfer</vt:lpstr>
      <vt:lpstr>1. Introduction – Adriano Perri</vt:lpstr>
      <vt:lpstr>1.1 Workflow</vt:lpstr>
      <vt:lpstr>1.1 Experiences</vt:lpstr>
      <vt:lpstr>2. TelekomCLOUD + OpenStack</vt:lpstr>
      <vt:lpstr>2.1 Refcard – Overview</vt:lpstr>
      <vt:lpstr>2.2 Our Deployment – Services We Use</vt:lpstr>
      <vt:lpstr>2.2 Our Deployment – Datacenter</vt:lpstr>
      <vt:lpstr>Thank you for  your Attention !!</vt:lpstr>
      <vt:lpstr>Sources</vt:lpstr>
      <vt:lpstr>3. Questions &amp; Answers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Computing</dc:title>
  <dc:creator>Adriano Perri</dc:creator>
  <cp:lastModifiedBy>Adriano Perri</cp:lastModifiedBy>
  <cp:revision>767</cp:revision>
  <cp:lastPrinted>2012-09-04T09:22:48Z</cp:lastPrinted>
  <dcterms:created xsi:type="dcterms:W3CDTF">2016-04-21T06:54:03Z</dcterms:created>
  <dcterms:modified xsi:type="dcterms:W3CDTF">2016-10-13T13:3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